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1" r:id="rId2"/>
    <p:sldMasterId id="2147483683" r:id="rId3"/>
    <p:sldMasterId id="2147483695" r:id="rId4"/>
    <p:sldMasterId id="2147483703" r:id="rId5"/>
    <p:sldMasterId id="2147483713" r:id="rId6"/>
  </p:sldMasterIdLst>
  <p:notesMasterIdLst>
    <p:notesMasterId r:id="rId27"/>
  </p:notesMasterIdLst>
  <p:sldIdLst>
    <p:sldId id="281" r:id="rId7"/>
    <p:sldId id="256" r:id="rId8"/>
    <p:sldId id="277" r:id="rId9"/>
    <p:sldId id="279" r:id="rId10"/>
    <p:sldId id="278" r:id="rId11"/>
    <p:sldId id="298" r:id="rId12"/>
    <p:sldId id="291" r:id="rId13"/>
    <p:sldId id="292" r:id="rId14"/>
    <p:sldId id="293" r:id="rId15"/>
    <p:sldId id="294" r:id="rId16"/>
    <p:sldId id="295" r:id="rId17"/>
    <p:sldId id="280" r:id="rId18"/>
    <p:sldId id="282" r:id="rId19"/>
    <p:sldId id="283" r:id="rId20"/>
    <p:sldId id="284" r:id="rId21"/>
    <p:sldId id="285" r:id="rId22"/>
    <p:sldId id="286" r:id="rId23"/>
    <p:sldId id="287" r:id="rId24"/>
    <p:sldId id="288" r:id="rId25"/>
    <p:sldId id="290" r:id="rId26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20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B2A0"/>
    <a:srgbClr val="003750"/>
    <a:srgbClr val="00618B"/>
    <a:srgbClr val="33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05" autoAdjust="0"/>
    <p:restoredTop sz="94660"/>
  </p:normalViewPr>
  <p:slideViewPr>
    <p:cSldViewPr>
      <p:cViewPr varScale="1">
        <p:scale>
          <a:sx n="43" d="100"/>
          <a:sy n="43" d="100"/>
        </p:scale>
        <p:origin x="672" y="54"/>
      </p:cViewPr>
      <p:guideLst>
        <p:guide orient="horz"/>
        <p:guide pos="20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lisa.korkushko\AppData\Local\Microsoft\Windows\Temporary%20Internet%20Files\Content.Outlook\S143YAIU\&#1056;&#1077;&#1079;-&#1090;&#1099;%20&#1086;&#1087;&#1088;&#1086;&#1089;&#1072;%20&#1074;%20&#1055;&#1057;&#1041;_&#1092;&#1077;&#1074;_2014_&#1089;&#1074;&#1086;&#1076;%20&#1086;&#1090;%20&#1055;&#1055;&#1056;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lisa.korkushko\AppData\Local\Microsoft\Windows\Temporary%20Internet%20Files\Content.Outlook\S143YAIU\&#1056;&#1077;&#1079;-&#1090;&#1099;%20&#1086;&#1087;&#1088;&#1086;&#1089;&#1072;%20&#1074;%20&#1055;&#1057;&#1041;_&#1092;&#1077;&#1074;_2014_&#1089;&#1074;&#1086;&#1076;%20&#1086;&#1090;%20&#1055;&#1055;&#1056;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Объем рынка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Лист1!$A$2:$A$3</c:f>
              <c:strCache>
                <c:ptCount val="2"/>
                <c:pt idx="0">
                  <c:v>Топливо (корпоративные клиенты)</c:v>
                </c:pt>
                <c:pt idx="1">
                  <c:v>Корпоративные платежи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0</c:v>
                </c:pt>
                <c:pt idx="1">
                  <c:v>1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Юридические лица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explosion val="16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Лист1!$A$9:$A$10</c:f>
              <c:strCache>
                <c:ptCount val="2"/>
                <c:pt idx="0">
                  <c:v>С автопарком</c:v>
                </c:pt>
                <c:pt idx="1">
                  <c:v>Всего</c:v>
                </c:pt>
              </c:strCache>
            </c:strRef>
          </c:cat>
          <c:val>
            <c:numRef>
              <c:f>Лист1!$B$9:$B$10</c:f>
              <c:numCache>
                <c:formatCode>#,##0</c:formatCode>
                <c:ptCount val="2"/>
                <c:pt idx="0">
                  <c:v>400000</c:v>
                </c:pt>
                <c:pt idx="1">
                  <c:v>1000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09C2B4D-5896-4A59-9C1A-12A0FB2A7806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846D6C1-3F44-4361-9502-7F261F2AF0D2}">
      <dgm:prSet phldrT="[Text]" custT="1"/>
      <dgm:spPr>
        <a:gradFill rotWithShape="0">
          <a:gsLst>
            <a:gs pos="0">
              <a:schemeClr val="bg2"/>
            </a:gs>
            <a:gs pos="80000">
              <a:schemeClr val="bg2"/>
            </a:gs>
            <a:gs pos="100000">
              <a:schemeClr val="bg2"/>
            </a:gs>
          </a:gsLst>
          <a:lin ang="16200000" scaled="0"/>
        </a:gradFill>
      </dgm:spPr>
      <dgm:t>
        <a:bodyPr/>
        <a:lstStyle/>
        <a:p>
          <a:r>
            <a:rPr lang="ru-RU" sz="2800" dirty="0" smtClean="0"/>
            <a:t>Оптимизация</a:t>
          </a:r>
          <a:endParaRPr lang="en-US" sz="2800" dirty="0"/>
        </a:p>
      </dgm:t>
    </dgm:pt>
    <dgm:pt modelId="{3BE77D04-12A6-4B93-8404-8AE5840F324C}" type="parTrans" cxnId="{B5281580-E06E-474F-BDEB-730F61E58F79}">
      <dgm:prSet/>
      <dgm:spPr/>
      <dgm:t>
        <a:bodyPr/>
        <a:lstStyle/>
        <a:p>
          <a:endParaRPr lang="en-US" sz="1600"/>
        </a:p>
      </dgm:t>
    </dgm:pt>
    <dgm:pt modelId="{ECD7F5FC-3DCB-47C5-B248-09CD3E042B7E}" type="sibTrans" cxnId="{B5281580-E06E-474F-BDEB-730F61E58F79}">
      <dgm:prSet/>
      <dgm:spPr/>
      <dgm:t>
        <a:bodyPr/>
        <a:lstStyle/>
        <a:p>
          <a:endParaRPr lang="en-US" sz="1600"/>
        </a:p>
      </dgm:t>
    </dgm:pt>
    <dgm:pt modelId="{D5E29E27-3F25-45E8-96C4-7BCCEC65DECB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ru-RU" sz="1400" b="0" dirty="0" smtClean="0">
              <a:solidFill>
                <a:schemeClr val="tx1"/>
              </a:solidFill>
            </a:rPr>
            <a:t>Экономия ресурсов на осуществление операций</a:t>
          </a:r>
          <a:endParaRPr lang="en-US" sz="1400" b="0" dirty="0">
            <a:solidFill>
              <a:schemeClr val="tx1"/>
            </a:solidFill>
          </a:endParaRPr>
        </a:p>
      </dgm:t>
    </dgm:pt>
    <dgm:pt modelId="{0D8D5FFE-E4DA-4E22-8E8A-02D1A67B30EE}" type="parTrans" cxnId="{DA12E2E8-F6DC-4D4B-BBB1-FCD5E346F583}">
      <dgm:prSet/>
      <dgm:spPr/>
      <dgm:t>
        <a:bodyPr/>
        <a:lstStyle/>
        <a:p>
          <a:endParaRPr lang="en-US" sz="1600"/>
        </a:p>
      </dgm:t>
    </dgm:pt>
    <dgm:pt modelId="{62BB166E-1946-40A0-BB6B-702E47AA1C3A}" type="sibTrans" cxnId="{DA12E2E8-F6DC-4D4B-BBB1-FCD5E346F583}">
      <dgm:prSet/>
      <dgm:spPr/>
      <dgm:t>
        <a:bodyPr/>
        <a:lstStyle/>
        <a:p>
          <a:endParaRPr lang="en-US" sz="1600"/>
        </a:p>
      </dgm:t>
    </dgm:pt>
    <dgm:pt modelId="{8EF4D7C2-3763-4C37-B5D7-847D2A232A8B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ru-RU" sz="1400" b="0" dirty="0" smtClean="0">
              <a:solidFill>
                <a:schemeClr val="tx1"/>
              </a:solidFill>
            </a:rPr>
            <a:t>Более выгодные условия работы за счет консолидации</a:t>
          </a:r>
          <a:endParaRPr lang="en-US" sz="1400" b="0" dirty="0">
            <a:solidFill>
              <a:schemeClr val="tx1"/>
            </a:solidFill>
          </a:endParaRPr>
        </a:p>
      </dgm:t>
    </dgm:pt>
    <dgm:pt modelId="{2BC4F7C0-0F03-4EF3-A88F-16C137620D30}" type="parTrans" cxnId="{C4B0A565-F567-4C72-823E-1475E802BE39}">
      <dgm:prSet/>
      <dgm:spPr/>
      <dgm:t>
        <a:bodyPr/>
        <a:lstStyle/>
        <a:p>
          <a:endParaRPr lang="en-US" sz="1600"/>
        </a:p>
      </dgm:t>
    </dgm:pt>
    <dgm:pt modelId="{6CBDBCEC-CA4B-44CF-8E9F-E6C5E5D347A9}" type="sibTrans" cxnId="{C4B0A565-F567-4C72-823E-1475E802BE39}">
      <dgm:prSet/>
      <dgm:spPr/>
      <dgm:t>
        <a:bodyPr/>
        <a:lstStyle/>
        <a:p>
          <a:endParaRPr lang="en-US" sz="1600"/>
        </a:p>
      </dgm:t>
    </dgm:pt>
    <dgm:pt modelId="{3E51B6F1-235E-4017-9C89-2E2E56FACE86}">
      <dgm:prSet phldrT="[Text]" custT="1"/>
      <dgm:spPr>
        <a:gradFill rotWithShape="0">
          <a:gsLst>
            <a:gs pos="0">
              <a:schemeClr val="bg2"/>
            </a:gs>
            <a:gs pos="80000">
              <a:schemeClr val="bg2"/>
            </a:gs>
            <a:gs pos="100000">
              <a:schemeClr val="bg2"/>
            </a:gs>
          </a:gsLst>
          <a:lin ang="16200000" scaled="0"/>
        </a:gradFill>
      </dgm:spPr>
      <dgm:t>
        <a:bodyPr/>
        <a:lstStyle/>
        <a:p>
          <a:r>
            <a:rPr lang="ru-RU" sz="2800" dirty="0" smtClean="0"/>
            <a:t>Контроль</a:t>
          </a:r>
          <a:endParaRPr lang="en-US" sz="2800" dirty="0"/>
        </a:p>
      </dgm:t>
    </dgm:pt>
    <dgm:pt modelId="{D1E07716-B990-4EAF-AEC7-2AA0A8DAECE9}" type="parTrans" cxnId="{65D1FDD3-9B9D-4A2C-A56D-AEDCCFD4D933}">
      <dgm:prSet/>
      <dgm:spPr/>
      <dgm:t>
        <a:bodyPr/>
        <a:lstStyle/>
        <a:p>
          <a:endParaRPr lang="en-US" sz="1600"/>
        </a:p>
      </dgm:t>
    </dgm:pt>
    <dgm:pt modelId="{F074A7A8-3F78-41D8-A8A2-7CB5BFC7A51F}" type="sibTrans" cxnId="{65D1FDD3-9B9D-4A2C-A56D-AEDCCFD4D933}">
      <dgm:prSet/>
      <dgm:spPr/>
      <dgm:t>
        <a:bodyPr/>
        <a:lstStyle/>
        <a:p>
          <a:endParaRPr lang="en-US" sz="1600"/>
        </a:p>
      </dgm:t>
    </dgm:pt>
    <dgm:pt modelId="{F46C99B2-EBE8-4108-B121-78ECAE89E807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ru-RU" sz="1400" dirty="0" smtClean="0">
              <a:solidFill>
                <a:schemeClr val="tx1"/>
              </a:solidFill>
            </a:rPr>
            <a:t>Оперативная информация для учета и анализа</a:t>
          </a:r>
          <a:endParaRPr lang="en-US" sz="1400" dirty="0">
            <a:solidFill>
              <a:schemeClr val="tx1"/>
            </a:solidFill>
          </a:endParaRPr>
        </a:p>
      </dgm:t>
    </dgm:pt>
    <dgm:pt modelId="{CAA5FD13-0269-4343-AE9F-BAE9A372A520}" type="parTrans" cxnId="{054FE05F-99E7-4443-B454-D5CC417F1DCB}">
      <dgm:prSet/>
      <dgm:spPr/>
      <dgm:t>
        <a:bodyPr/>
        <a:lstStyle/>
        <a:p>
          <a:endParaRPr lang="en-US" sz="1600"/>
        </a:p>
      </dgm:t>
    </dgm:pt>
    <dgm:pt modelId="{620ED36D-B204-4B35-ABF8-3DCB916241C0}" type="sibTrans" cxnId="{054FE05F-99E7-4443-B454-D5CC417F1DCB}">
      <dgm:prSet/>
      <dgm:spPr/>
      <dgm:t>
        <a:bodyPr/>
        <a:lstStyle/>
        <a:p>
          <a:endParaRPr lang="en-US" sz="1600"/>
        </a:p>
      </dgm:t>
    </dgm:pt>
    <dgm:pt modelId="{9862ABE0-81D0-452C-8B3D-906513D3E54C}">
      <dgm:prSet phldrT="[Text]" custT="1"/>
      <dgm:spPr>
        <a:gradFill rotWithShape="0">
          <a:gsLst>
            <a:gs pos="0">
              <a:schemeClr val="bg2"/>
            </a:gs>
            <a:gs pos="80000">
              <a:schemeClr val="bg2"/>
            </a:gs>
            <a:gs pos="100000">
              <a:schemeClr val="bg2"/>
            </a:gs>
          </a:gsLst>
          <a:lin ang="16200000" scaled="0"/>
        </a:gradFill>
      </dgm:spPr>
      <dgm:t>
        <a:bodyPr/>
        <a:lstStyle/>
        <a:p>
          <a:r>
            <a:rPr lang="ru-RU" sz="2800" dirty="0" smtClean="0"/>
            <a:t>Соответствие</a:t>
          </a:r>
          <a:endParaRPr lang="en-US" sz="2800" dirty="0"/>
        </a:p>
      </dgm:t>
    </dgm:pt>
    <dgm:pt modelId="{C14645E2-CC78-44F0-937E-8443B36486C7}" type="parTrans" cxnId="{0066BE0D-72AF-42A1-89BB-0AC559787AD5}">
      <dgm:prSet/>
      <dgm:spPr/>
      <dgm:t>
        <a:bodyPr/>
        <a:lstStyle/>
        <a:p>
          <a:endParaRPr lang="en-US" sz="1600"/>
        </a:p>
      </dgm:t>
    </dgm:pt>
    <dgm:pt modelId="{C8B084A4-7412-4851-B6C7-32F3AAE18795}" type="sibTrans" cxnId="{0066BE0D-72AF-42A1-89BB-0AC559787AD5}">
      <dgm:prSet/>
      <dgm:spPr/>
      <dgm:t>
        <a:bodyPr/>
        <a:lstStyle/>
        <a:p>
          <a:endParaRPr lang="en-US" sz="1600"/>
        </a:p>
      </dgm:t>
    </dgm:pt>
    <dgm:pt modelId="{49E11D8D-846E-4B69-A82C-B7F2596E9422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ru-RU" sz="1400" dirty="0" smtClean="0">
              <a:solidFill>
                <a:schemeClr val="tx1"/>
              </a:solidFill>
            </a:rPr>
            <a:t>Соблюдение внутренних политик</a:t>
          </a:r>
          <a:endParaRPr lang="en-US" sz="1400" dirty="0">
            <a:solidFill>
              <a:schemeClr val="tx1"/>
            </a:solidFill>
          </a:endParaRPr>
        </a:p>
      </dgm:t>
    </dgm:pt>
    <dgm:pt modelId="{6E70C130-3DFD-4ECF-94AD-008FC255E409}" type="parTrans" cxnId="{3F2BCDC5-70F6-4A63-99CB-4E912BC96715}">
      <dgm:prSet/>
      <dgm:spPr/>
      <dgm:t>
        <a:bodyPr/>
        <a:lstStyle/>
        <a:p>
          <a:endParaRPr lang="en-US" sz="1600"/>
        </a:p>
      </dgm:t>
    </dgm:pt>
    <dgm:pt modelId="{14721B76-07DE-4616-90C6-4B8FB28966E3}" type="sibTrans" cxnId="{3F2BCDC5-70F6-4A63-99CB-4E912BC96715}">
      <dgm:prSet/>
      <dgm:spPr/>
      <dgm:t>
        <a:bodyPr/>
        <a:lstStyle/>
        <a:p>
          <a:endParaRPr lang="en-US" sz="1600"/>
        </a:p>
      </dgm:t>
    </dgm:pt>
    <dgm:pt modelId="{48361F99-5144-48BC-B863-CF7CB722F8A5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ru-RU" sz="1400" b="0" dirty="0" smtClean="0">
              <a:solidFill>
                <a:schemeClr val="tx1"/>
              </a:solidFill>
            </a:rPr>
            <a:t>Детали платежа из независимого источника</a:t>
          </a:r>
          <a:endParaRPr lang="en-US" sz="1400" dirty="0">
            <a:solidFill>
              <a:schemeClr val="tx1"/>
            </a:solidFill>
          </a:endParaRPr>
        </a:p>
      </dgm:t>
    </dgm:pt>
    <dgm:pt modelId="{EF830ADB-78D9-4E13-B7D5-40D8FDAA4EA4}" type="sibTrans" cxnId="{03E99E50-628B-4381-953F-CE5412940A7B}">
      <dgm:prSet/>
      <dgm:spPr/>
      <dgm:t>
        <a:bodyPr/>
        <a:lstStyle/>
        <a:p>
          <a:endParaRPr lang="en-US" sz="1600"/>
        </a:p>
      </dgm:t>
    </dgm:pt>
    <dgm:pt modelId="{E7580D1D-F4CF-4F01-9A2C-F455D07B2CA3}" type="parTrans" cxnId="{03E99E50-628B-4381-953F-CE5412940A7B}">
      <dgm:prSet/>
      <dgm:spPr/>
      <dgm:t>
        <a:bodyPr/>
        <a:lstStyle/>
        <a:p>
          <a:endParaRPr lang="en-US" sz="1600"/>
        </a:p>
      </dgm:t>
    </dgm:pt>
    <dgm:pt modelId="{F0A845AF-065E-4369-B04F-1D5E0DDEBD34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ru-RU" sz="1400" dirty="0" smtClean="0">
              <a:solidFill>
                <a:schemeClr val="tx1"/>
              </a:solidFill>
            </a:rPr>
            <a:t>Сигнализирование о нарушениях</a:t>
          </a:r>
          <a:endParaRPr lang="en-US" sz="1400" dirty="0">
            <a:solidFill>
              <a:schemeClr val="tx1"/>
            </a:solidFill>
          </a:endParaRPr>
        </a:p>
      </dgm:t>
    </dgm:pt>
    <dgm:pt modelId="{CE948605-039C-4A15-AE2C-C00180BF3DA7}" type="sibTrans" cxnId="{A2780276-77BD-488C-872E-13037F15FF4D}">
      <dgm:prSet/>
      <dgm:spPr/>
      <dgm:t>
        <a:bodyPr/>
        <a:lstStyle/>
        <a:p>
          <a:endParaRPr lang="en-US" sz="1600"/>
        </a:p>
      </dgm:t>
    </dgm:pt>
    <dgm:pt modelId="{94DBB535-4318-4461-A18A-082BDBA3CF40}" type="parTrans" cxnId="{A2780276-77BD-488C-872E-13037F15FF4D}">
      <dgm:prSet/>
      <dgm:spPr/>
      <dgm:t>
        <a:bodyPr/>
        <a:lstStyle/>
        <a:p>
          <a:endParaRPr lang="en-US" sz="1600"/>
        </a:p>
      </dgm:t>
    </dgm:pt>
    <dgm:pt modelId="{5DAABF0E-4772-4AB1-8070-E958D05A944F}">
      <dgm:prSet phldrT="[Text]" custT="1"/>
      <dgm:spPr>
        <a:solidFill>
          <a:schemeClr val="bg2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ru-RU" sz="1400" b="0" dirty="0" smtClean="0">
              <a:solidFill>
                <a:schemeClr val="tx1"/>
              </a:solidFill>
            </a:rPr>
            <a:t>Прозрачность ценообразования</a:t>
          </a:r>
          <a:endParaRPr lang="en-US" sz="1400" dirty="0">
            <a:solidFill>
              <a:schemeClr val="tx1"/>
            </a:solidFill>
          </a:endParaRPr>
        </a:p>
      </dgm:t>
    </dgm:pt>
    <dgm:pt modelId="{7B3D71D1-44D1-4429-A4CD-E35640839AB3}" type="parTrans" cxnId="{65B7F5D4-15E3-4D3E-9592-B4466D690BC1}">
      <dgm:prSet/>
      <dgm:spPr/>
      <dgm:t>
        <a:bodyPr/>
        <a:lstStyle/>
        <a:p>
          <a:endParaRPr lang="en-US"/>
        </a:p>
      </dgm:t>
    </dgm:pt>
    <dgm:pt modelId="{3E763A8A-0255-441D-A2A2-000D1A733707}" type="sibTrans" cxnId="{65B7F5D4-15E3-4D3E-9592-B4466D690BC1}">
      <dgm:prSet/>
      <dgm:spPr/>
      <dgm:t>
        <a:bodyPr/>
        <a:lstStyle/>
        <a:p>
          <a:endParaRPr lang="en-US"/>
        </a:p>
      </dgm:t>
    </dgm:pt>
    <dgm:pt modelId="{478E83D2-327E-4DAE-8CBD-C1820EAFFAFF}" type="pres">
      <dgm:prSet presAssocID="{A09C2B4D-5896-4A59-9C1A-12A0FB2A780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4CBBD90-5FA9-416D-9C11-E94E11DC58D8}" type="pres">
      <dgm:prSet presAssocID="{2846D6C1-3F44-4361-9502-7F261F2AF0D2}" presName="linNode" presStyleCnt="0"/>
      <dgm:spPr/>
    </dgm:pt>
    <dgm:pt modelId="{7104A840-88F7-4751-B7CE-8361606E3324}" type="pres">
      <dgm:prSet presAssocID="{2846D6C1-3F44-4361-9502-7F261F2AF0D2}" presName="parentText" presStyleLbl="node1" presStyleIdx="0" presStyleCnt="3" custScaleX="86632" custLinFactNeighborX="-376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2B8B5B-CF72-4AF3-A003-3C6E3870BFC3}" type="pres">
      <dgm:prSet presAssocID="{2846D6C1-3F44-4361-9502-7F261F2AF0D2}" presName="descendantText" presStyleLbl="alignAccFollowNode1" presStyleIdx="0" presStyleCnt="3" custScaleX="10488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79E76B-7708-4D23-BFC3-F87595142019}" type="pres">
      <dgm:prSet presAssocID="{ECD7F5FC-3DCB-47C5-B248-09CD3E042B7E}" presName="sp" presStyleCnt="0"/>
      <dgm:spPr/>
    </dgm:pt>
    <dgm:pt modelId="{B1877F37-2D53-468E-9396-A9308DBBF234}" type="pres">
      <dgm:prSet presAssocID="{3E51B6F1-235E-4017-9C89-2E2E56FACE86}" presName="linNode" presStyleCnt="0"/>
      <dgm:spPr/>
    </dgm:pt>
    <dgm:pt modelId="{10DCAB44-FF7F-41E1-BDC8-F7703062AE37}" type="pres">
      <dgm:prSet presAssocID="{3E51B6F1-235E-4017-9C89-2E2E56FACE86}" presName="parentText" presStyleLbl="node1" presStyleIdx="1" presStyleCnt="3" custScaleX="86632" custLinFactNeighborX="-376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FFCB07-D682-41E1-8673-39B1EB827EAA}" type="pres">
      <dgm:prSet presAssocID="{3E51B6F1-235E-4017-9C89-2E2E56FACE86}" presName="descendantText" presStyleLbl="alignAccFollowNode1" presStyleIdx="1" presStyleCnt="3" custScaleX="10488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220517-A7DB-4DE6-A0DB-C329CFBC381D}" type="pres">
      <dgm:prSet presAssocID="{F074A7A8-3F78-41D8-A8A2-7CB5BFC7A51F}" presName="sp" presStyleCnt="0"/>
      <dgm:spPr/>
    </dgm:pt>
    <dgm:pt modelId="{6E753C3E-B23D-4962-87EC-A0486EE9F5F7}" type="pres">
      <dgm:prSet presAssocID="{9862ABE0-81D0-452C-8B3D-906513D3E54C}" presName="linNode" presStyleCnt="0"/>
      <dgm:spPr/>
    </dgm:pt>
    <dgm:pt modelId="{6091770D-A4EB-4951-A566-53719346809B}" type="pres">
      <dgm:prSet presAssocID="{9862ABE0-81D0-452C-8B3D-906513D3E54C}" presName="parentText" presStyleLbl="node1" presStyleIdx="2" presStyleCnt="3" custScaleX="86632" custLinFactNeighborX="-376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7561E3-F8C9-46AC-AE7C-96F899801BF8}" type="pres">
      <dgm:prSet presAssocID="{9862ABE0-81D0-452C-8B3D-906513D3E54C}" presName="descendantText" presStyleLbl="alignAccFollowNode1" presStyleIdx="2" presStyleCnt="3" custScaleX="10488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A12E2E8-F6DC-4D4B-BBB1-FCD5E346F583}" srcId="{2846D6C1-3F44-4361-9502-7F261F2AF0D2}" destId="{D5E29E27-3F25-45E8-96C4-7BCCEC65DECB}" srcOrd="0" destOrd="0" parTransId="{0D8D5FFE-E4DA-4E22-8E8A-02D1A67B30EE}" sibTransId="{62BB166E-1946-40A0-BB6B-702E47AA1C3A}"/>
    <dgm:cxn modelId="{31A0D6B6-333B-479B-A871-D552D889704A}" type="presOf" srcId="{9862ABE0-81D0-452C-8B3D-906513D3E54C}" destId="{6091770D-A4EB-4951-A566-53719346809B}" srcOrd="0" destOrd="0" presId="urn:microsoft.com/office/officeart/2005/8/layout/vList5"/>
    <dgm:cxn modelId="{B5281580-E06E-474F-BDEB-730F61E58F79}" srcId="{A09C2B4D-5896-4A59-9C1A-12A0FB2A7806}" destId="{2846D6C1-3F44-4361-9502-7F261F2AF0D2}" srcOrd="0" destOrd="0" parTransId="{3BE77D04-12A6-4B93-8404-8AE5840F324C}" sibTransId="{ECD7F5FC-3DCB-47C5-B248-09CD3E042B7E}"/>
    <dgm:cxn modelId="{A2F1B895-2162-425D-A009-F13EC6F2C254}" type="presOf" srcId="{48361F99-5144-48BC-B863-CF7CB722F8A5}" destId="{84FFCB07-D682-41E1-8673-39B1EB827EAA}" srcOrd="0" destOrd="1" presId="urn:microsoft.com/office/officeart/2005/8/layout/vList5"/>
    <dgm:cxn modelId="{054FE05F-99E7-4443-B454-D5CC417F1DCB}" srcId="{3E51B6F1-235E-4017-9C89-2E2E56FACE86}" destId="{F46C99B2-EBE8-4108-B121-78ECAE89E807}" srcOrd="0" destOrd="0" parTransId="{CAA5FD13-0269-4343-AE9F-BAE9A372A520}" sibTransId="{620ED36D-B204-4B35-ABF8-3DCB916241C0}"/>
    <dgm:cxn modelId="{2803F57A-DB51-443A-8329-BF78AE7C8DA5}" type="presOf" srcId="{3E51B6F1-235E-4017-9C89-2E2E56FACE86}" destId="{10DCAB44-FF7F-41E1-BDC8-F7703062AE37}" srcOrd="0" destOrd="0" presId="urn:microsoft.com/office/officeart/2005/8/layout/vList5"/>
    <dgm:cxn modelId="{F51021D3-565B-4E30-84F9-5C7B9576F828}" type="presOf" srcId="{49E11D8D-846E-4B69-A82C-B7F2596E9422}" destId="{327561E3-F8C9-46AC-AE7C-96F899801BF8}" srcOrd="0" destOrd="0" presId="urn:microsoft.com/office/officeart/2005/8/layout/vList5"/>
    <dgm:cxn modelId="{3F2BCDC5-70F6-4A63-99CB-4E912BC96715}" srcId="{9862ABE0-81D0-452C-8B3D-906513D3E54C}" destId="{49E11D8D-846E-4B69-A82C-B7F2596E9422}" srcOrd="0" destOrd="0" parTransId="{6E70C130-3DFD-4ECF-94AD-008FC255E409}" sibTransId="{14721B76-07DE-4616-90C6-4B8FB28966E3}"/>
    <dgm:cxn modelId="{AAFA0E6B-9B66-444F-9913-7C6D8D9892EB}" type="presOf" srcId="{8EF4D7C2-3763-4C37-B5D7-847D2A232A8B}" destId="{852B8B5B-CF72-4AF3-A003-3C6E3870BFC3}" srcOrd="0" destOrd="1" presId="urn:microsoft.com/office/officeart/2005/8/layout/vList5"/>
    <dgm:cxn modelId="{584B8507-551E-423C-BB78-719D3C04EE17}" type="presOf" srcId="{A09C2B4D-5896-4A59-9C1A-12A0FB2A7806}" destId="{478E83D2-327E-4DAE-8CBD-C1820EAFFAFF}" srcOrd="0" destOrd="0" presId="urn:microsoft.com/office/officeart/2005/8/layout/vList5"/>
    <dgm:cxn modelId="{C4B0A565-F567-4C72-823E-1475E802BE39}" srcId="{2846D6C1-3F44-4361-9502-7F261F2AF0D2}" destId="{8EF4D7C2-3763-4C37-B5D7-847D2A232A8B}" srcOrd="1" destOrd="0" parTransId="{2BC4F7C0-0F03-4EF3-A88F-16C137620D30}" sibTransId="{6CBDBCEC-CA4B-44CF-8E9F-E6C5E5D347A9}"/>
    <dgm:cxn modelId="{809833C8-F08F-4675-86BC-891A7F8388C0}" type="presOf" srcId="{F46C99B2-EBE8-4108-B121-78ECAE89E807}" destId="{84FFCB07-D682-41E1-8673-39B1EB827EAA}" srcOrd="0" destOrd="0" presId="urn:microsoft.com/office/officeart/2005/8/layout/vList5"/>
    <dgm:cxn modelId="{03E99E50-628B-4381-953F-CE5412940A7B}" srcId="{3E51B6F1-235E-4017-9C89-2E2E56FACE86}" destId="{48361F99-5144-48BC-B863-CF7CB722F8A5}" srcOrd="1" destOrd="0" parTransId="{E7580D1D-F4CF-4F01-9A2C-F455D07B2CA3}" sibTransId="{EF830ADB-78D9-4E13-B7D5-40D8FDAA4EA4}"/>
    <dgm:cxn modelId="{E87B5815-ADEC-4269-BA66-08C94F53B7EA}" type="presOf" srcId="{F0A845AF-065E-4369-B04F-1D5E0DDEBD34}" destId="{327561E3-F8C9-46AC-AE7C-96F899801BF8}" srcOrd="0" destOrd="1" presId="urn:microsoft.com/office/officeart/2005/8/layout/vList5"/>
    <dgm:cxn modelId="{A2780276-77BD-488C-872E-13037F15FF4D}" srcId="{9862ABE0-81D0-452C-8B3D-906513D3E54C}" destId="{F0A845AF-065E-4369-B04F-1D5E0DDEBD34}" srcOrd="1" destOrd="0" parTransId="{94DBB535-4318-4461-A18A-082BDBA3CF40}" sibTransId="{CE948605-039C-4A15-AE2C-C00180BF3DA7}"/>
    <dgm:cxn modelId="{4FADE1CC-AA44-4B20-A223-21C035FA949E}" type="presOf" srcId="{D5E29E27-3F25-45E8-96C4-7BCCEC65DECB}" destId="{852B8B5B-CF72-4AF3-A003-3C6E3870BFC3}" srcOrd="0" destOrd="0" presId="urn:microsoft.com/office/officeart/2005/8/layout/vList5"/>
    <dgm:cxn modelId="{65B7F5D4-15E3-4D3E-9592-B4466D690BC1}" srcId="{3E51B6F1-235E-4017-9C89-2E2E56FACE86}" destId="{5DAABF0E-4772-4AB1-8070-E958D05A944F}" srcOrd="2" destOrd="0" parTransId="{7B3D71D1-44D1-4429-A4CD-E35640839AB3}" sibTransId="{3E763A8A-0255-441D-A2A2-000D1A733707}"/>
    <dgm:cxn modelId="{65D1FDD3-9B9D-4A2C-A56D-AEDCCFD4D933}" srcId="{A09C2B4D-5896-4A59-9C1A-12A0FB2A7806}" destId="{3E51B6F1-235E-4017-9C89-2E2E56FACE86}" srcOrd="1" destOrd="0" parTransId="{D1E07716-B990-4EAF-AEC7-2AA0A8DAECE9}" sibTransId="{F074A7A8-3F78-41D8-A8A2-7CB5BFC7A51F}"/>
    <dgm:cxn modelId="{26F65426-8DA0-4E93-BFE7-633A40CC2CB2}" type="presOf" srcId="{5DAABF0E-4772-4AB1-8070-E958D05A944F}" destId="{84FFCB07-D682-41E1-8673-39B1EB827EAA}" srcOrd="0" destOrd="2" presId="urn:microsoft.com/office/officeart/2005/8/layout/vList5"/>
    <dgm:cxn modelId="{A908497E-67B8-4341-9BD4-4777B3D1AD6A}" type="presOf" srcId="{2846D6C1-3F44-4361-9502-7F261F2AF0D2}" destId="{7104A840-88F7-4751-B7CE-8361606E3324}" srcOrd="0" destOrd="0" presId="urn:microsoft.com/office/officeart/2005/8/layout/vList5"/>
    <dgm:cxn modelId="{0066BE0D-72AF-42A1-89BB-0AC559787AD5}" srcId="{A09C2B4D-5896-4A59-9C1A-12A0FB2A7806}" destId="{9862ABE0-81D0-452C-8B3D-906513D3E54C}" srcOrd="2" destOrd="0" parTransId="{C14645E2-CC78-44F0-937E-8443B36486C7}" sibTransId="{C8B084A4-7412-4851-B6C7-32F3AAE18795}"/>
    <dgm:cxn modelId="{F25C60C7-C49C-46B8-AD20-98286512A2CE}" type="presParOf" srcId="{478E83D2-327E-4DAE-8CBD-C1820EAFFAFF}" destId="{64CBBD90-5FA9-416D-9C11-E94E11DC58D8}" srcOrd="0" destOrd="0" presId="urn:microsoft.com/office/officeart/2005/8/layout/vList5"/>
    <dgm:cxn modelId="{A55C1519-F07F-46D4-93DA-E58118BE94A4}" type="presParOf" srcId="{64CBBD90-5FA9-416D-9C11-E94E11DC58D8}" destId="{7104A840-88F7-4751-B7CE-8361606E3324}" srcOrd="0" destOrd="0" presId="urn:microsoft.com/office/officeart/2005/8/layout/vList5"/>
    <dgm:cxn modelId="{CBF57D76-2994-47FC-BAF0-3A9C59F60CC1}" type="presParOf" srcId="{64CBBD90-5FA9-416D-9C11-E94E11DC58D8}" destId="{852B8B5B-CF72-4AF3-A003-3C6E3870BFC3}" srcOrd="1" destOrd="0" presId="urn:microsoft.com/office/officeart/2005/8/layout/vList5"/>
    <dgm:cxn modelId="{EBDEF393-7D89-4E71-86B2-1EE33C62F7C8}" type="presParOf" srcId="{478E83D2-327E-4DAE-8CBD-C1820EAFFAFF}" destId="{8E79E76B-7708-4D23-BFC3-F87595142019}" srcOrd="1" destOrd="0" presId="urn:microsoft.com/office/officeart/2005/8/layout/vList5"/>
    <dgm:cxn modelId="{4DDEB558-3797-4700-B994-BFB43F890266}" type="presParOf" srcId="{478E83D2-327E-4DAE-8CBD-C1820EAFFAFF}" destId="{B1877F37-2D53-468E-9396-A9308DBBF234}" srcOrd="2" destOrd="0" presId="urn:microsoft.com/office/officeart/2005/8/layout/vList5"/>
    <dgm:cxn modelId="{0DF0A4C4-F2B5-4C99-8DC1-950A5767AFD9}" type="presParOf" srcId="{B1877F37-2D53-468E-9396-A9308DBBF234}" destId="{10DCAB44-FF7F-41E1-BDC8-F7703062AE37}" srcOrd="0" destOrd="0" presId="urn:microsoft.com/office/officeart/2005/8/layout/vList5"/>
    <dgm:cxn modelId="{32A3BFA4-7E81-48E7-AE00-B30D9E78060B}" type="presParOf" srcId="{B1877F37-2D53-468E-9396-A9308DBBF234}" destId="{84FFCB07-D682-41E1-8673-39B1EB827EAA}" srcOrd="1" destOrd="0" presId="urn:microsoft.com/office/officeart/2005/8/layout/vList5"/>
    <dgm:cxn modelId="{9EC57B18-EE3E-4E3D-9E9C-722134EA677D}" type="presParOf" srcId="{478E83D2-327E-4DAE-8CBD-C1820EAFFAFF}" destId="{A9220517-A7DB-4DE6-A0DB-C329CFBC381D}" srcOrd="3" destOrd="0" presId="urn:microsoft.com/office/officeart/2005/8/layout/vList5"/>
    <dgm:cxn modelId="{194397D0-69EC-41D8-B141-11A4DC4EBCCF}" type="presParOf" srcId="{478E83D2-327E-4DAE-8CBD-C1820EAFFAFF}" destId="{6E753C3E-B23D-4962-87EC-A0486EE9F5F7}" srcOrd="4" destOrd="0" presId="urn:microsoft.com/office/officeart/2005/8/layout/vList5"/>
    <dgm:cxn modelId="{2F3166E1-06D5-4DF5-99FC-BA0953385177}" type="presParOf" srcId="{6E753C3E-B23D-4962-87EC-A0486EE9F5F7}" destId="{6091770D-A4EB-4951-A566-53719346809B}" srcOrd="0" destOrd="0" presId="urn:microsoft.com/office/officeart/2005/8/layout/vList5"/>
    <dgm:cxn modelId="{8E076A9B-B944-4521-ADA9-4628C2078264}" type="presParOf" srcId="{6E753C3E-B23D-4962-87EC-A0486EE9F5F7}" destId="{327561E3-F8C9-46AC-AE7C-96F899801BF8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46DEE4F-DF35-4634-82D0-15905F82FF40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7423BCEF-AE6C-473B-ADD7-CA498B232AB7}">
      <dgm:prSet phldrT="[Text]" custT="1"/>
      <dgm:spPr>
        <a:gradFill rotWithShape="0">
          <a:gsLst>
            <a:gs pos="0">
              <a:schemeClr val="accent5"/>
            </a:gs>
            <a:gs pos="80000">
              <a:schemeClr val="accent5"/>
            </a:gs>
            <a:gs pos="100000">
              <a:schemeClr val="accent5"/>
            </a:gs>
          </a:gsLst>
          <a:lin ang="16200000" scaled="0"/>
        </a:gradFill>
      </dgm:spPr>
      <dgm:t>
        <a:bodyPr/>
        <a:lstStyle/>
        <a:p>
          <a:r>
            <a:rPr lang="ru-RU" sz="1600" b="1" dirty="0" smtClean="0"/>
            <a:t>Удобство как для сотрудника так и для компании</a:t>
          </a:r>
          <a:endParaRPr lang="en-US" sz="1600" b="1" dirty="0"/>
        </a:p>
      </dgm:t>
    </dgm:pt>
    <dgm:pt modelId="{FA7B536A-E692-4293-83A9-3C87DB39EE8E}" type="parTrans" cxnId="{FB8B74AA-81A8-4568-B1F9-734A9AEB5B21}">
      <dgm:prSet/>
      <dgm:spPr/>
      <dgm:t>
        <a:bodyPr/>
        <a:lstStyle/>
        <a:p>
          <a:endParaRPr lang="en-US" sz="1600" b="1"/>
        </a:p>
      </dgm:t>
    </dgm:pt>
    <dgm:pt modelId="{A29CB2B6-5394-4755-9AB3-62A7ECC47B61}" type="sibTrans" cxnId="{FB8B74AA-81A8-4568-B1F9-734A9AEB5B21}">
      <dgm:prSet/>
      <dgm:spPr/>
      <dgm:t>
        <a:bodyPr/>
        <a:lstStyle/>
        <a:p>
          <a:endParaRPr lang="en-US" sz="1600" b="1"/>
        </a:p>
      </dgm:t>
    </dgm:pt>
    <dgm:pt modelId="{18E395D8-CDCE-4C85-A880-961ED80F5B95}">
      <dgm:prSet phldrT="[Text]" custT="1"/>
      <dgm:spPr>
        <a:gradFill rotWithShape="0">
          <a:gsLst>
            <a:gs pos="0">
              <a:schemeClr val="accent5"/>
            </a:gs>
            <a:gs pos="80000">
              <a:schemeClr val="accent5"/>
            </a:gs>
            <a:gs pos="100000">
              <a:schemeClr val="accent5"/>
            </a:gs>
          </a:gsLst>
          <a:lin ang="16200000" scaled="0"/>
        </a:gradFill>
      </dgm:spPr>
      <dgm:t>
        <a:bodyPr/>
        <a:lstStyle/>
        <a:p>
          <a:r>
            <a:rPr lang="ru-RU" sz="1600" b="1" dirty="0" smtClean="0"/>
            <a:t>Повышение эффективности процессов</a:t>
          </a:r>
          <a:endParaRPr lang="en-US" sz="1600" b="1" dirty="0"/>
        </a:p>
      </dgm:t>
    </dgm:pt>
    <dgm:pt modelId="{B5F05E51-C3DD-4C18-841D-42ADF0F389DF}" type="parTrans" cxnId="{15697AC5-F7B0-48C8-90F9-BFD3C5B50A24}">
      <dgm:prSet/>
      <dgm:spPr/>
      <dgm:t>
        <a:bodyPr/>
        <a:lstStyle/>
        <a:p>
          <a:endParaRPr lang="en-US" sz="1600" b="1"/>
        </a:p>
      </dgm:t>
    </dgm:pt>
    <dgm:pt modelId="{4119491D-2DAB-472D-873B-F2C7796F4B4E}" type="sibTrans" cxnId="{15697AC5-F7B0-48C8-90F9-BFD3C5B50A24}">
      <dgm:prSet/>
      <dgm:spPr/>
      <dgm:t>
        <a:bodyPr/>
        <a:lstStyle/>
        <a:p>
          <a:endParaRPr lang="en-US" sz="1600" b="1"/>
        </a:p>
      </dgm:t>
    </dgm:pt>
    <dgm:pt modelId="{975CB859-6A85-4BDA-B035-2FE4D0D49F81}">
      <dgm:prSet phldrT="[Text]" custT="1"/>
      <dgm:spPr>
        <a:gradFill rotWithShape="0">
          <a:gsLst>
            <a:gs pos="0">
              <a:schemeClr val="accent5"/>
            </a:gs>
            <a:gs pos="80000">
              <a:schemeClr val="accent5"/>
            </a:gs>
            <a:gs pos="100000">
              <a:schemeClr val="accent5"/>
            </a:gs>
          </a:gsLst>
          <a:lin ang="16200000" scaled="0"/>
        </a:gradFill>
      </dgm:spPr>
      <dgm:t>
        <a:bodyPr/>
        <a:lstStyle/>
        <a:p>
          <a:r>
            <a:rPr lang="ru-RU" sz="1600" b="1" dirty="0" smtClean="0"/>
            <a:t>Сокращение накладных расходов</a:t>
          </a:r>
          <a:endParaRPr lang="en-US" sz="1600" b="1" dirty="0"/>
        </a:p>
      </dgm:t>
    </dgm:pt>
    <dgm:pt modelId="{31D5B8E2-3197-489A-B984-00FB2B5CA055}" type="parTrans" cxnId="{FBD87E3A-C9C9-415E-8E75-75F169A61014}">
      <dgm:prSet/>
      <dgm:spPr/>
      <dgm:t>
        <a:bodyPr/>
        <a:lstStyle/>
        <a:p>
          <a:endParaRPr lang="en-US" sz="1600" b="1"/>
        </a:p>
      </dgm:t>
    </dgm:pt>
    <dgm:pt modelId="{000B786B-6D49-407C-8EDC-2668E398BA8D}" type="sibTrans" cxnId="{FBD87E3A-C9C9-415E-8E75-75F169A61014}">
      <dgm:prSet/>
      <dgm:spPr/>
      <dgm:t>
        <a:bodyPr/>
        <a:lstStyle/>
        <a:p>
          <a:endParaRPr lang="en-US" sz="1600" b="1"/>
        </a:p>
      </dgm:t>
    </dgm:pt>
    <dgm:pt modelId="{2513F233-6BE4-4DD7-8B1B-C6A8149738CA}" type="pres">
      <dgm:prSet presAssocID="{546DEE4F-DF35-4634-82D0-15905F82FF40}" presName="Name0" presStyleCnt="0">
        <dgm:presLayoutVars>
          <dgm:dir/>
          <dgm:animLvl val="lvl"/>
          <dgm:resizeHandles val="exact"/>
        </dgm:presLayoutVars>
      </dgm:prSet>
      <dgm:spPr/>
    </dgm:pt>
    <dgm:pt modelId="{F8C8EAB3-5D3D-46D6-9072-156D7A2E6C44}" type="pres">
      <dgm:prSet presAssocID="{7423BCEF-AE6C-473B-ADD7-CA498B232AB7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F7F8BB-101C-4613-9E0E-BE9D188DD332}" type="pres">
      <dgm:prSet presAssocID="{A29CB2B6-5394-4755-9AB3-62A7ECC47B61}" presName="parTxOnlySpace" presStyleCnt="0"/>
      <dgm:spPr/>
    </dgm:pt>
    <dgm:pt modelId="{44FD31D3-336A-4958-A32B-6EF01E8B8901}" type="pres">
      <dgm:prSet presAssocID="{18E395D8-CDCE-4C85-A880-961ED80F5B95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2D0119-8CC5-4DA8-AA83-CDFD3F5BA67B}" type="pres">
      <dgm:prSet presAssocID="{4119491D-2DAB-472D-873B-F2C7796F4B4E}" presName="parTxOnlySpace" presStyleCnt="0"/>
      <dgm:spPr/>
    </dgm:pt>
    <dgm:pt modelId="{BC43F97A-61AF-44FB-A850-B3963C598EE6}" type="pres">
      <dgm:prSet presAssocID="{975CB859-6A85-4BDA-B035-2FE4D0D49F81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D6F335F-108D-44CB-A541-7735527B55F8}" type="presOf" srcId="{975CB859-6A85-4BDA-B035-2FE4D0D49F81}" destId="{BC43F97A-61AF-44FB-A850-B3963C598EE6}" srcOrd="0" destOrd="0" presId="urn:microsoft.com/office/officeart/2005/8/layout/chevron1"/>
    <dgm:cxn modelId="{C6336783-D8EF-4DDF-B692-B2B6A9D9B3E3}" type="presOf" srcId="{18E395D8-CDCE-4C85-A880-961ED80F5B95}" destId="{44FD31D3-336A-4958-A32B-6EF01E8B8901}" srcOrd="0" destOrd="0" presId="urn:microsoft.com/office/officeart/2005/8/layout/chevron1"/>
    <dgm:cxn modelId="{FBD87E3A-C9C9-415E-8E75-75F169A61014}" srcId="{546DEE4F-DF35-4634-82D0-15905F82FF40}" destId="{975CB859-6A85-4BDA-B035-2FE4D0D49F81}" srcOrd="2" destOrd="0" parTransId="{31D5B8E2-3197-489A-B984-00FB2B5CA055}" sibTransId="{000B786B-6D49-407C-8EDC-2668E398BA8D}"/>
    <dgm:cxn modelId="{EED08886-F54D-4272-A656-2B1A30EE4876}" type="presOf" srcId="{546DEE4F-DF35-4634-82D0-15905F82FF40}" destId="{2513F233-6BE4-4DD7-8B1B-C6A8149738CA}" srcOrd="0" destOrd="0" presId="urn:microsoft.com/office/officeart/2005/8/layout/chevron1"/>
    <dgm:cxn modelId="{15697AC5-F7B0-48C8-90F9-BFD3C5B50A24}" srcId="{546DEE4F-DF35-4634-82D0-15905F82FF40}" destId="{18E395D8-CDCE-4C85-A880-961ED80F5B95}" srcOrd="1" destOrd="0" parTransId="{B5F05E51-C3DD-4C18-841D-42ADF0F389DF}" sibTransId="{4119491D-2DAB-472D-873B-F2C7796F4B4E}"/>
    <dgm:cxn modelId="{FB8B74AA-81A8-4568-B1F9-734A9AEB5B21}" srcId="{546DEE4F-DF35-4634-82D0-15905F82FF40}" destId="{7423BCEF-AE6C-473B-ADD7-CA498B232AB7}" srcOrd="0" destOrd="0" parTransId="{FA7B536A-E692-4293-83A9-3C87DB39EE8E}" sibTransId="{A29CB2B6-5394-4755-9AB3-62A7ECC47B61}"/>
    <dgm:cxn modelId="{C45F581F-14A7-45FF-8258-8C1C19823029}" type="presOf" srcId="{7423BCEF-AE6C-473B-ADD7-CA498B232AB7}" destId="{F8C8EAB3-5D3D-46D6-9072-156D7A2E6C44}" srcOrd="0" destOrd="0" presId="urn:microsoft.com/office/officeart/2005/8/layout/chevron1"/>
    <dgm:cxn modelId="{595D45E4-81B7-4871-BAD9-238238FBACA1}" type="presParOf" srcId="{2513F233-6BE4-4DD7-8B1B-C6A8149738CA}" destId="{F8C8EAB3-5D3D-46D6-9072-156D7A2E6C44}" srcOrd="0" destOrd="0" presId="urn:microsoft.com/office/officeart/2005/8/layout/chevron1"/>
    <dgm:cxn modelId="{A389D959-5C56-4200-BB6A-EF4E0A94CC32}" type="presParOf" srcId="{2513F233-6BE4-4DD7-8B1B-C6A8149738CA}" destId="{78F7F8BB-101C-4613-9E0E-BE9D188DD332}" srcOrd="1" destOrd="0" presId="urn:microsoft.com/office/officeart/2005/8/layout/chevron1"/>
    <dgm:cxn modelId="{7C185E8D-3BF3-4CCE-8B7B-020344F66C4B}" type="presParOf" srcId="{2513F233-6BE4-4DD7-8B1B-C6A8149738CA}" destId="{44FD31D3-336A-4958-A32B-6EF01E8B8901}" srcOrd="2" destOrd="0" presId="urn:microsoft.com/office/officeart/2005/8/layout/chevron1"/>
    <dgm:cxn modelId="{E5EA7E2F-29D7-4215-BDD0-8439CCA30237}" type="presParOf" srcId="{2513F233-6BE4-4DD7-8B1B-C6A8149738CA}" destId="{F22D0119-8CC5-4DA8-AA83-CDFD3F5BA67B}" srcOrd="3" destOrd="0" presId="urn:microsoft.com/office/officeart/2005/8/layout/chevron1"/>
    <dgm:cxn modelId="{A36018DA-D840-4C95-92E8-22C0741516D2}" type="presParOf" srcId="{2513F233-6BE4-4DD7-8B1B-C6A8149738CA}" destId="{BC43F97A-61AF-44FB-A850-B3963C598EE6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2B8B5B-CF72-4AF3-A003-3C6E3870BFC3}">
      <dsp:nvSpPr>
        <dsp:cNvPr id="0" name=""/>
        <dsp:cNvSpPr/>
      </dsp:nvSpPr>
      <dsp:spPr>
        <a:xfrm rot="5400000">
          <a:off x="5237487" y="-2425155"/>
          <a:ext cx="686484" cy="5711017"/>
        </a:xfrm>
        <a:prstGeom prst="round2SameRect">
          <a:avLst/>
        </a:prstGeom>
        <a:solidFill>
          <a:schemeClr val="bg2">
            <a:lumMod val="40000"/>
            <a:lumOff val="60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0" kern="1200" dirty="0" smtClean="0">
              <a:solidFill>
                <a:schemeClr val="tx1"/>
              </a:solidFill>
            </a:rPr>
            <a:t>Экономия ресурсов на осуществление операций</a:t>
          </a:r>
          <a:endParaRPr lang="en-US" sz="1400" b="0" kern="1200" dirty="0">
            <a:solidFill>
              <a:schemeClr val="tx1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0" kern="1200" dirty="0" smtClean="0">
              <a:solidFill>
                <a:schemeClr val="tx1"/>
              </a:solidFill>
            </a:rPr>
            <a:t>Более выгодные условия работы за счет консолидации</a:t>
          </a:r>
          <a:endParaRPr lang="en-US" sz="1400" b="0" kern="1200" dirty="0">
            <a:solidFill>
              <a:schemeClr val="tx1"/>
            </a:solidFill>
          </a:endParaRPr>
        </a:p>
      </dsp:txBody>
      <dsp:txXfrm rot="-5400000">
        <a:off x="2725221" y="120622"/>
        <a:ext cx="5677506" cy="619462"/>
      </dsp:txXfrm>
    </dsp:sp>
    <dsp:sp modelId="{7104A840-88F7-4751-B7CE-8361606E3324}">
      <dsp:nvSpPr>
        <dsp:cNvPr id="0" name=""/>
        <dsp:cNvSpPr/>
      </dsp:nvSpPr>
      <dsp:spPr>
        <a:xfrm>
          <a:off x="0" y="1300"/>
          <a:ext cx="2653440" cy="858106"/>
        </a:xfrm>
        <a:prstGeom prst="roundRect">
          <a:avLst/>
        </a:prstGeom>
        <a:gradFill rotWithShape="0">
          <a:gsLst>
            <a:gs pos="0">
              <a:schemeClr val="bg2"/>
            </a:gs>
            <a:gs pos="80000">
              <a:schemeClr val="bg2"/>
            </a:gs>
            <a:gs pos="100000">
              <a:schemeClr val="bg2"/>
            </a:gs>
          </a:gsLst>
          <a:lin ang="16200000" scaled="0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 smtClean="0"/>
            <a:t>Оптимизация</a:t>
          </a:r>
          <a:endParaRPr lang="en-US" sz="2800" kern="1200" dirty="0"/>
        </a:p>
      </dsp:txBody>
      <dsp:txXfrm>
        <a:off x="41889" y="43189"/>
        <a:ext cx="2569662" cy="774328"/>
      </dsp:txXfrm>
    </dsp:sp>
    <dsp:sp modelId="{84FFCB07-D682-41E1-8673-39B1EB827EAA}">
      <dsp:nvSpPr>
        <dsp:cNvPr id="0" name=""/>
        <dsp:cNvSpPr/>
      </dsp:nvSpPr>
      <dsp:spPr>
        <a:xfrm rot="5400000">
          <a:off x="5237487" y="-1524144"/>
          <a:ext cx="686484" cy="5711017"/>
        </a:xfrm>
        <a:prstGeom prst="round2SameRect">
          <a:avLst/>
        </a:prstGeom>
        <a:solidFill>
          <a:schemeClr val="bg2">
            <a:lumMod val="40000"/>
            <a:lumOff val="60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schemeClr val="tx1"/>
              </a:solidFill>
            </a:rPr>
            <a:t>Оперативная информация для учета и анализа</a:t>
          </a:r>
          <a:endParaRPr lang="en-US" sz="1400" kern="1200" dirty="0">
            <a:solidFill>
              <a:schemeClr val="tx1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0" kern="1200" dirty="0" smtClean="0">
              <a:solidFill>
                <a:schemeClr val="tx1"/>
              </a:solidFill>
            </a:rPr>
            <a:t>Детали платежа из независимого источника</a:t>
          </a:r>
          <a:endParaRPr lang="en-US" sz="1400" kern="1200" dirty="0">
            <a:solidFill>
              <a:schemeClr val="tx1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0" kern="1200" dirty="0" smtClean="0">
              <a:solidFill>
                <a:schemeClr val="tx1"/>
              </a:solidFill>
            </a:rPr>
            <a:t>Прозрачность ценообразования</a:t>
          </a:r>
          <a:endParaRPr lang="en-US" sz="1400" kern="1200" dirty="0">
            <a:solidFill>
              <a:schemeClr val="tx1"/>
            </a:solidFill>
          </a:endParaRPr>
        </a:p>
      </dsp:txBody>
      <dsp:txXfrm rot="-5400000">
        <a:off x="2725221" y="1021633"/>
        <a:ext cx="5677506" cy="619462"/>
      </dsp:txXfrm>
    </dsp:sp>
    <dsp:sp modelId="{10DCAB44-FF7F-41E1-BDC8-F7703062AE37}">
      <dsp:nvSpPr>
        <dsp:cNvPr id="0" name=""/>
        <dsp:cNvSpPr/>
      </dsp:nvSpPr>
      <dsp:spPr>
        <a:xfrm>
          <a:off x="0" y="902311"/>
          <a:ext cx="2653440" cy="858106"/>
        </a:xfrm>
        <a:prstGeom prst="roundRect">
          <a:avLst/>
        </a:prstGeom>
        <a:gradFill rotWithShape="0">
          <a:gsLst>
            <a:gs pos="0">
              <a:schemeClr val="bg2"/>
            </a:gs>
            <a:gs pos="80000">
              <a:schemeClr val="bg2"/>
            </a:gs>
            <a:gs pos="100000">
              <a:schemeClr val="bg2"/>
            </a:gs>
          </a:gsLst>
          <a:lin ang="16200000" scaled="0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 smtClean="0"/>
            <a:t>Контроль</a:t>
          </a:r>
          <a:endParaRPr lang="en-US" sz="2800" kern="1200" dirty="0"/>
        </a:p>
      </dsp:txBody>
      <dsp:txXfrm>
        <a:off x="41889" y="944200"/>
        <a:ext cx="2569662" cy="774328"/>
      </dsp:txXfrm>
    </dsp:sp>
    <dsp:sp modelId="{327561E3-F8C9-46AC-AE7C-96F899801BF8}">
      <dsp:nvSpPr>
        <dsp:cNvPr id="0" name=""/>
        <dsp:cNvSpPr/>
      </dsp:nvSpPr>
      <dsp:spPr>
        <a:xfrm rot="5400000">
          <a:off x="5237487" y="-623133"/>
          <a:ext cx="686484" cy="5711017"/>
        </a:xfrm>
        <a:prstGeom prst="round2SameRect">
          <a:avLst/>
        </a:prstGeom>
        <a:solidFill>
          <a:schemeClr val="bg2">
            <a:lumMod val="40000"/>
            <a:lumOff val="60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schemeClr val="tx1"/>
              </a:solidFill>
            </a:rPr>
            <a:t>Соблюдение внутренних политик</a:t>
          </a:r>
          <a:endParaRPr lang="en-US" sz="1400" kern="1200" dirty="0">
            <a:solidFill>
              <a:schemeClr val="tx1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schemeClr val="tx1"/>
              </a:solidFill>
            </a:rPr>
            <a:t>Сигнализирование о нарушениях</a:t>
          </a:r>
          <a:endParaRPr lang="en-US" sz="1400" kern="1200" dirty="0">
            <a:solidFill>
              <a:schemeClr val="tx1"/>
            </a:solidFill>
          </a:endParaRPr>
        </a:p>
      </dsp:txBody>
      <dsp:txXfrm rot="-5400000">
        <a:off x="2725221" y="1922644"/>
        <a:ext cx="5677506" cy="619462"/>
      </dsp:txXfrm>
    </dsp:sp>
    <dsp:sp modelId="{6091770D-A4EB-4951-A566-53719346809B}">
      <dsp:nvSpPr>
        <dsp:cNvPr id="0" name=""/>
        <dsp:cNvSpPr/>
      </dsp:nvSpPr>
      <dsp:spPr>
        <a:xfrm>
          <a:off x="0" y="1803322"/>
          <a:ext cx="2653440" cy="858106"/>
        </a:xfrm>
        <a:prstGeom prst="roundRect">
          <a:avLst/>
        </a:prstGeom>
        <a:gradFill rotWithShape="0">
          <a:gsLst>
            <a:gs pos="0">
              <a:schemeClr val="bg2"/>
            </a:gs>
            <a:gs pos="80000">
              <a:schemeClr val="bg2"/>
            </a:gs>
            <a:gs pos="100000">
              <a:schemeClr val="bg2"/>
            </a:gs>
          </a:gsLst>
          <a:lin ang="16200000" scaled="0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 smtClean="0"/>
            <a:t>Соответствие</a:t>
          </a:r>
          <a:endParaRPr lang="en-US" sz="2800" kern="1200" dirty="0"/>
        </a:p>
      </dsp:txBody>
      <dsp:txXfrm>
        <a:off x="41889" y="1845211"/>
        <a:ext cx="2569662" cy="77432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C8EAB3-5D3D-46D6-9072-156D7A2E6C44}">
      <dsp:nvSpPr>
        <dsp:cNvPr id="0" name=""/>
        <dsp:cNvSpPr/>
      </dsp:nvSpPr>
      <dsp:spPr>
        <a:xfrm>
          <a:off x="2384" y="0"/>
          <a:ext cx="2904556" cy="1008112"/>
        </a:xfrm>
        <a:prstGeom prst="chevron">
          <a:avLst/>
        </a:prstGeom>
        <a:gradFill rotWithShape="0">
          <a:gsLst>
            <a:gs pos="0">
              <a:schemeClr val="accent5"/>
            </a:gs>
            <a:gs pos="80000">
              <a:schemeClr val="accent5"/>
            </a:gs>
            <a:gs pos="100000">
              <a:schemeClr val="accent5"/>
            </a:gs>
          </a:gsLst>
          <a:lin ang="16200000" scaled="0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Удобство как для сотрудника так и для компании</a:t>
          </a:r>
          <a:endParaRPr lang="en-US" sz="1600" b="1" kern="1200" dirty="0"/>
        </a:p>
      </dsp:txBody>
      <dsp:txXfrm>
        <a:off x="506440" y="0"/>
        <a:ext cx="1896444" cy="1008112"/>
      </dsp:txXfrm>
    </dsp:sp>
    <dsp:sp modelId="{44FD31D3-336A-4958-A32B-6EF01E8B8901}">
      <dsp:nvSpPr>
        <dsp:cNvPr id="0" name=""/>
        <dsp:cNvSpPr/>
      </dsp:nvSpPr>
      <dsp:spPr>
        <a:xfrm>
          <a:off x="2616484" y="0"/>
          <a:ext cx="2904556" cy="1008112"/>
        </a:xfrm>
        <a:prstGeom prst="chevron">
          <a:avLst/>
        </a:prstGeom>
        <a:gradFill rotWithShape="0">
          <a:gsLst>
            <a:gs pos="0">
              <a:schemeClr val="accent5"/>
            </a:gs>
            <a:gs pos="80000">
              <a:schemeClr val="accent5"/>
            </a:gs>
            <a:gs pos="100000">
              <a:schemeClr val="accent5"/>
            </a:gs>
          </a:gsLst>
          <a:lin ang="16200000" scaled="0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Повышение эффективности процессов</a:t>
          </a:r>
          <a:endParaRPr lang="en-US" sz="1600" b="1" kern="1200" dirty="0"/>
        </a:p>
      </dsp:txBody>
      <dsp:txXfrm>
        <a:off x="3120540" y="0"/>
        <a:ext cx="1896444" cy="1008112"/>
      </dsp:txXfrm>
    </dsp:sp>
    <dsp:sp modelId="{BC43F97A-61AF-44FB-A850-B3963C598EE6}">
      <dsp:nvSpPr>
        <dsp:cNvPr id="0" name=""/>
        <dsp:cNvSpPr/>
      </dsp:nvSpPr>
      <dsp:spPr>
        <a:xfrm>
          <a:off x="5230584" y="0"/>
          <a:ext cx="2904556" cy="1008112"/>
        </a:xfrm>
        <a:prstGeom prst="chevron">
          <a:avLst/>
        </a:prstGeom>
        <a:gradFill rotWithShape="0">
          <a:gsLst>
            <a:gs pos="0">
              <a:schemeClr val="accent5"/>
            </a:gs>
            <a:gs pos="80000">
              <a:schemeClr val="accent5"/>
            </a:gs>
            <a:gs pos="100000">
              <a:schemeClr val="accent5"/>
            </a:gs>
          </a:gsLst>
          <a:lin ang="16200000" scaled="0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Сокращение накладных расходов</a:t>
          </a:r>
          <a:endParaRPr lang="en-US" sz="1600" b="1" kern="1200" dirty="0"/>
        </a:p>
      </dsp:txBody>
      <dsp:txXfrm>
        <a:off x="5734640" y="0"/>
        <a:ext cx="1896444" cy="10081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F2566FB-6F1C-4A34-AEDD-29DD5B829C92}" type="datetimeFigureOut">
              <a:rPr lang="ru-RU"/>
              <a:pPr>
                <a:defRPr/>
              </a:pPr>
              <a:t>11.11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5AFB9E3-3B17-4504-8BAC-5690D3D0B99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426200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6387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1B347D0-FABD-4A33-A4D9-AC9C5C8B1793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26201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8435" name="Номер слайда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F1671462-7173-44E3-AAFE-AF946618ED46}" type="slidenum">
              <a:rPr lang="ru-RU" sz="1200">
                <a:latin typeface="Calibri" pitchFamily="34" charset="0"/>
              </a:rPr>
              <a:pPr algn="r"/>
              <a:t>4</a:t>
            </a:fld>
            <a:endParaRPr lang="ru-RU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00326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8435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0BEA1F1-6417-4950-AA93-986351EBAA8B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55131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5C5C5C"/>
                </a:solidFill>
                <a:latin typeface="Segoe UI"/>
              </a:rPr>
              <a:t>Visa Presentation</a:t>
            </a:r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28204D-FC58-4A59-A2D3-ED4EB93B9725}" type="slidenum">
              <a:rPr lang="en-US" smtClean="0">
                <a:solidFill>
                  <a:srgbClr val="5C5C5C"/>
                </a:solidFill>
                <a:latin typeface="Segoe UI"/>
              </a:rPr>
              <a:pPr/>
              <a:t>8</a:t>
            </a:fld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3249613" y="504825"/>
            <a:ext cx="3367087" cy="2525713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03488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53247F-A630-441B-B542-D4D3E6FAE136}" type="slidenum">
              <a:rPr lang="en-US" smtClean="0">
                <a:solidFill>
                  <a:srgbClr val="5C5C5C"/>
                </a:solidFill>
                <a:latin typeface="Segoe UI"/>
              </a:rPr>
              <a:pPr/>
              <a:t>9</a:t>
            </a:fld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397941"/>
            <a:ext cx="4274957" cy="336673"/>
          </a:xfrm>
        </p:spPr>
        <p:txBody>
          <a:bodyPr/>
          <a:lstStyle/>
          <a:p>
            <a:r>
              <a:rPr lang="en-US" dirty="0" smtClean="0">
                <a:solidFill>
                  <a:srgbClr val="5C5C5C"/>
                </a:solidFill>
                <a:latin typeface="Segoe UI"/>
              </a:rPr>
              <a:t>Visa Presentation</a:t>
            </a:r>
            <a:endParaRPr lang="en-US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3409666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36913" y="509588"/>
            <a:ext cx="3398837" cy="2549525"/>
          </a:xfrm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0831413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0AEE38-A6EF-4930-94AC-ADAD7E41101E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5114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0AEE38-A6EF-4930-94AC-ADAD7E41101E}" type="slidenum">
              <a:rPr lang="ru-RU" smtClean="0">
                <a:solidFill>
                  <a:prstClr val="black"/>
                </a:solidFill>
              </a:rPr>
              <a:pPr/>
              <a:t>1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7948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255337-E11B-EA45-B1E1-34A7F90ABA53}" type="slidenum">
              <a:rPr lang="ru-RU" smtClean="0">
                <a:solidFill>
                  <a:prstClr val="black"/>
                </a:solidFill>
              </a:rPr>
              <a:pPr/>
              <a:t>1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1191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107950" y="6376988"/>
            <a:ext cx="466725" cy="365125"/>
          </a:xfrm>
        </p:spPr>
        <p:txBody>
          <a:bodyPr/>
          <a:lstStyle>
            <a:lvl1pPr algn="ctr">
              <a:defRPr>
                <a:solidFill>
                  <a:srgbClr val="00618B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7C1C36BA-AF23-4B02-8B32-F86DA45A4D9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1F1847-00F8-4CFD-9B48-D2F6390CB18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59C32E-45E4-47B5-8CF5-F0573FCD74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7504" y="6376243"/>
            <a:ext cx="467544" cy="365125"/>
          </a:xfrm>
        </p:spPr>
        <p:txBody>
          <a:bodyPr/>
          <a:lstStyle>
            <a:lvl1pPr algn="ctr">
              <a:defRPr>
                <a:solidFill>
                  <a:srgbClr val="00618B"/>
                </a:solidFill>
                <a:latin typeface="Calibri" panose="020F0502020204030204" pitchFamily="34" charset="0"/>
              </a:defRPr>
            </a:lvl1pPr>
          </a:lstStyle>
          <a:p>
            <a:fld id="{F25B6877-0BEE-43E0-8D78-644D3D8309C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59481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2580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6017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3935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5538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7285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6914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0265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B69E5A-6B80-4EB8-8C48-7D0E97A001D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1661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9135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9573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7504" y="6376243"/>
            <a:ext cx="467544" cy="365125"/>
          </a:xfrm>
        </p:spPr>
        <p:txBody>
          <a:bodyPr/>
          <a:lstStyle>
            <a:lvl1pPr algn="ctr">
              <a:defRPr>
                <a:solidFill>
                  <a:srgbClr val="00618B"/>
                </a:solidFill>
                <a:latin typeface="Calibri" panose="020F0502020204030204" pitchFamily="34" charset="0"/>
              </a:defRPr>
            </a:lvl1pPr>
          </a:lstStyle>
          <a:p>
            <a:fld id="{F25B6877-0BEE-43E0-8D78-644D3D8309C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20026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5398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3343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5550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3352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5085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2972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558E45-9BA2-4CA9-BE5D-E7E81592D3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2921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6979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4457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254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2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4065280"/>
          </a:xfrm>
        </p:spPr>
        <p:txBody>
          <a:bodyPr/>
          <a:lstStyle>
            <a:lvl1pPr marL="0" indent="0">
              <a:buNone/>
              <a:defRPr sz="3080"/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260" y="6356351"/>
            <a:ext cx="94957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/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ctrTitle" hasCustomPrompt="1"/>
          </p:nvPr>
        </p:nvSpPr>
        <p:spPr>
          <a:xfrm>
            <a:off x="836791" y="2792663"/>
            <a:ext cx="3400531" cy="1086451"/>
          </a:xfrm>
        </p:spPr>
        <p:txBody>
          <a:bodyPr anchor="t">
            <a:normAutofit/>
          </a:bodyPr>
          <a:lstStyle>
            <a:lvl1pPr marL="0" marR="0" indent="0" algn="l" defTabSz="4460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82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ОСНОВНОЙ ЗАГОЛОВОК</a:t>
            </a:r>
            <a:br>
              <a:rPr lang="ru-RU" dirty="0" smtClean="0"/>
            </a:br>
            <a:r>
              <a:rPr lang="ru-RU" dirty="0" smtClean="0"/>
              <a:t>МОЖЕТ БЫТЬ</a:t>
            </a:r>
            <a:br>
              <a:rPr lang="ru-RU" dirty="0" smtClean="0"/>
            </a:br>
            <a:r>
              <a:rPr lang="ru-RU" dirty="0" smtClean="0"/>
              <a:t>В ТРИ СТРОКИ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836120" y="3879114"/>
            <a:ext cx="3401202" cy="850542"/>
          </a:xfrm>
        </p:spPr>
        <p:txBody>
          <a:bodyPr anchor="t">
            <a:normAutofit/>
          </a:bodyPr>
          <a:lstStyle>
            <a:lvl1pPr marL="0" marR="0" indent="0" algn="l" defTabSz="4460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98">
                <a:solidFill>
                  <a:srgbClr val="FFFFFF"/>
                </a:solidFill>
                <a:latin typeface="Arial"/>
                <a:cs typeface="Arial"/>
              </a:defRPr>
            </a:lvl1pPr>
            <a:lvl2pPr marL="4460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2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8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4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04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6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2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8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 </a:t>
            </a:r>
          </a:p>
          <a:p>
            <a:r>
              <a:rPr lang="ru-RU" dirty="0" smtClean="0"/>
              <a:t>так же может занимать </a:t>
            </a:r>
          </a:p>
          <a:p>
            <a:r>
              <a:rPr lang="ru-RU" dirty="0" smtClean="0"/>
              <a:t>несколько строк 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533344" y="5435079"/>
            <a:ext cx="1564852" cy="4610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В жизни всегда </a:t>
            </a:r>
            <a:endParaRPr lang="en-US" sz="1198" dirty="0" smtClean="0">
              <a:solidFill>
                <a:prstClr val="black">
                  <a:lumMod val="50000"/>
                  <a:lumOff val="50000"/>
                </a:prstClr>
              </a:solidFill>
              <a:latin typeface="Calibri"/>
            </a:endParaRPr>
          </a:p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есть место открытию</a:t>
            </a:r>
            <a:endParaRPr lang="ru-RU" sz="1198" dirty="0">
              <a:solidFill>
                <a:prstClr val="black">
                  <a:lumMod val="50000"/>
                  <a:lumOff val="50000"/>
                </a:prstClr>
              </a:solidFill>
              <a:latin typeface="Calibri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543221" y="5874778"/>
            <a:ext cx="1238066" cy="2766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en-US" sz="1198" dirty="0" smtClean="0">
                <a:solidFill>
                  <a:srgbClr val="466CB3"/>
                </a:solidFill>
                <a:latin typeface="Calibri"/>
              </a:rPr>
              <a:t>otkritiefc.</a:t>
            </a:r>
            <a:r>
              <a:rPr lang="en-US" sz="1198" dirty="0" smtClean="0">
                <a:solidFill>
                  <a:srgbClr val="7F7F7F"/>
                </a:solidFill>
                <a:latin typeface="Calibri"/>
              </a:rPr>
              <a:t>ru</a:t>
            </a:r>
            <a:endParaRPr lang="ru-RU" sz="1198" dirty="0">
              <a:solidFill>
                <a:srgbClr val="7F7F7F"/>
              </a:solidFill>
              <a:latin typeface="Calibri"/>
            </a:endParaRPr>
          </a:p>
        </p:txBody>
      </p:sp>
      <p:pic>
        <p:nvPicPr>
          <p:cNvPr id="8" name="Изображение 7" descr="open_fin_rus_v_Pantone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9547" y="5550118"/>
            <a:ext cx="3122808" cy="444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7544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нач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1" descr="ПЛ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19" y="6110630"/>
            <a:ext cx="215585" cy="228516"/>
          </a:xfrm>
          <a:prstGeom prst="rect">
            <a:avLst/>
          </a:prstGeom>
        </p:spPr>
      </p:pic>
      <p:sp>
        <p:nvSpPr>
          <p:cNvPr id="22" name="Рисунок 2"/>
          <p:cNvSpPr>
            <a:spLocks noGrp="1"/>
          </p:cNvSpPr>
          <p:nvPr>
            <p:ph type="pic" idx="14"/>
          </p:nvPr>
        </p:nvSpPr>
        <p:spPr>
          <a:xfrm>
            <a:off x="1222002" y="3677130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/>
          </a:p>
        </p:txBody>
      </p:sp>
      <p:sp>
        <p:nvSpPr>
          <p:cNvPr id="23" name="Рисунок 2"/>
          <p:cNvSpPr>
            <a:spLocks noGrp="1"/>
          </p:cNvSpPr>
          <p:nvPr>
            <p:ph type="pic" idx="15"/>
          </p:nvPr>
        </p:nvSpPr>
        <p:spPr>
          <a:xfrm>
            <a:off x="1222002" y="1871639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 dirty="0"/>
          </a:p>
        </p:txBody>
      </p:sp>
      <p:sp>
        <p:nvSpPr>
          <p:cNvPr id="2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034276"/>
            <a:ext cx="213360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Номер слайд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>
          <a:xfrm>
            <a:off x="848962" y="6034276"/>
            <a:ext cx="94957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/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798532" y="6034276"/>
            <a:ext cx="2895600" cy="365125"/>
          </a:xfrm>
        </p:spPr>
        <p:txBody>
          <a:bodyPr/>
          <a:lstStyle>
            <a:lvl1pPr algn="l"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Продукт «Единый остаток»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457200" y="553448"/>
            <a:ext cx="3820294" cy="658749"/>
          </a:xfrm>
        </p:spPr>
        <p:txBody>
          <a:bodyPr anchor="t">
            <a:normAutofit/>
          </a:bodyPr>
          <a:lstStyle>
            <a:lvl1pPr algn="l">
              <a:defRPr sz="1540">
                <a:solidFill>
                  <a:srgbClr val="466CB3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7" name="Содержимое 5"/>
          <p:cNvSpPr>
            <a:spLocks noGrp="1"/>
          </p:cNvSpPr>
          <p:nvPr>
            <p:ph idx="16"/>
          </p:nvPr>
        </p:nvSpPr>
        <p:spPr>
          <a:xfrm>
            <a:off x="2056954" y="3677130"/>
            <a:ext cx="6721342" cy="607951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369">
                <a:solidFill>
                  <a:srgbClr val="466CB3"/>
                </a:solidFill>
              </a:defRPr>
            </a:lvl1pPr>
          </a:lstStyle>
          <a:p>
            <a:r>
              <a:rPr lang="ru-RU" dirty="0" smtClean="0"/>
              <a:t>Название первого пункта</a:t>
            </a:r>
          </a:p>
          <a:p>
            <a:r>
              <a:rPr lang="ru-RU" dirty="0" smtClean="0"/>
              <a:t>может быть в две строки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half" idx="25"/>
          </p:nvPr>
        </p:nvSpPr>
        <p:spPr>
          <a:xfrm>
            <a:off x="2056954" y="4285081"/>
            <a:ext cx="6721342" cy="642464"/>
          </a:xfrm>
        </p:spPr>
        <p:txBody>
          <a:bodyPr>
            <a:normAutofit/>
          </a:bodyPr>
          <a:lstStyle>
            <a:lvl1pPr marL="0" indent="0">
              <a:buNone/>
              <a:defRPr sz="1198"/>
            </a:lvl1pPr>
          </a:lstStyle>
          <a:p>
            <a:r>
              <a:rPr lang="ru-RU" dirty="0" smtClean="0"/>
              <a:t>Основной текст</a:t>
            </a:r>
            <a:endParaRPr lang="ru-RU" dirty="0"/>
          </a:p>
        </p:txBody>
      </p:sp>
      <p:sp>
        <p:nvSpPr>
          <p:cNvPr id="21" name="Содержимое 5"/>
          <p:cNvSpPr>
            <a:spLocks noGrp="1"/>
          </p:cNvSpPr>
          <p:nvPr>
            <p:ph idx="26"/>
          </p:nvPr>
        </p:nvSpPr>
        <p:spPr>
          <a:xfrm>
            <a:off x="2056954" y="1852808"/>
            <a:ext cx="6721342" cy="607951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369">
                <a:solidFill>
                  <a:srgbClr val="466CB3"/>
                </a:solidFill>
              </a:defRPr>
            </a:lvl1pPr>
          </a:lstStyle>
          <a:p>
            <a:r>
              <a:rPr lang="ru-RU" dirty="0" smtClean="0"/>
              <a:t>Название первого пункта</a:t>
            </a:r>
          </a:p>
          <a:p>
            <a:r>
              <a:rPr lang="ru-RU" dirty="0" smtClean="0"/>
              <a:t>может быть в две строки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half" idx="27"/>
          </p:nvPr>
        </p:nvSpPr>
        <p:spPr>
          <a:xfrm>
            <a:off x="2056954" y="2460759"/>
            <a:ext cx="6721342" cy="642464"/>
          </a:xfrm>
        </p:spPr>
        <p:txBody>
          <a:bodyPr>
            <a:normAutofit/>
          </a:bodyPr>
          <a:lstStyle>
            <a:lvl1pPr marL="0" indent="0">
              <a:buNone/>
              <a:defRPr sz="1198"/>
            </a:lvl1pPr>
          </a:lstStyle>
          <a:p>
            <a:r>
              <a:rPr lang="ru-RU" dirty="0" smtClean="0"/>
              <a:t>Основной 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25003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одержимое 2"/>
          <p:cNvSpPr>
            <a:spLocks noGrp="1"/>
          </p:cNvSpPr>
          <p:nvPr>
            <p:ph idx="14"/>
          </p:nvPr>
        </p:nvSpPr>
        <p:spPr>
          <a:xfrm>
            <a:off x="4956271" y="1852807"/>
            <a:ext cx="3822025" cy="668561"/>
          </a:xfrm>
        </p:spPr>
        <p:txBody>
          <a:bodyPr anchor="t"/>
          <a:lstStyle>
            <a:lvl1pPr marL="0" indent="0">
              <a:buFontTx/>
              <a:buNone/>
              <a:defRPr sz="1369">
                <a:solidFill>
                  <a:srgbClr val="466CB3"/>
                </a:solidFill>
                <a:latin typeface="Arial"/>
                <a:cs typeface="Arial"/>
              </a:defRPr>
            </a:lvl1pPr>
            <a:lvl2pPr marL="0" indent="0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1" name="Содержимое 2"/>
          <p:cNvSpPr>
            <a:spLocks noGrp="1"/>
          </p:cNvSpPr>
          <p:nvPr>
            <p:ph idx="15"/>
          </p:nvPr>
        </p:nvSpPr>
        <p:spPr>
          <a:xfrm>
            <a:off x="455469" y="1852807"/>
            <a:ext cx="3822025" cy="668561"/>
          </a:xfrm>
        </p:spPr>
        <p:txBody>
          <a:bodyPr anchor="t"/>
          <a:lstStyle>
            <a:lvl1pPr marL="0" indent="0">
              <a:buFontTx/>
              <a:buNone/>
              <a:defRPr sz="1369">
                <a:solidFill>
                  <a:srgbClr val="466CB3"/>
                </a:solidFill>
                <a:latin typeface="Arial"/>
                <a:cs typeface="Arial"/>
              </a:defRPr>
            </a:lvl1pPr>
            <a:lvl2pPr marL="0" indent="0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457200" y="553448"/>
            <a:ext cx="3820294" cy="658749"/>
          </a:xfrm>
        </p:spPr>
        <p:txBody>
          <a:bodyPr anchor="t">
            <a:normAutofit/>
          </a:bodyPr>
          <a:lstStyle>
            <a:lvl1pPr algn="l">
              <a:defRPr sz="1540">
                <a:solidFill>
                  <a:srgbClr val="466CB3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half" idx="25"/>
          </p:nvPr>
        </p:nvSpPr>
        <p:spPr>
          <a:xfrm>
            <a:off x="4967709" y="2744698"/>
            <a:ext cx="3822025" cy="3195063"/>
          </a:xfrm>
        </p:spPr>
        <p:txBody>
          <a:bodyPr>
            <a:normAutofit/>
          </a:bodyPr>
          <a:lstStyle>
            <a:lvl1pPr marL="0" indent="0">
              <a:buNone/>
              <a:defRPr sz="1198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7" name="Текст 3"/>
          <p:cNvSpPr>
            <a:spLocks noGrp="1"/>
          </p:cNvSpPr>
          <p:nvPr>
            <p:ph type="body" sz="half" idx="26"/>
          </p:nvPr>
        </p:nvSpPr>
        <p:spPr>
          <a:xfrm>
            <a:off x="455469" y="2744698"/>
            <a:ext cx="3822025" cy="3195063"/>
          </a:xfrm>
        </p:spPr>
        <p:txBody>
          <a:bodyPr>
            <a:normAutofit/>
          </a:bodyPr>
          <a:lstStyle>
            <a:lvl1pPr marL="0" indent="0">
              <a:buNone/>
              <a:defRPr sz="1198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034276"/>
            <a:ext cx="213360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Номер слайд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Дата 3"/>
          <p:cNvSpPr>
            <a:spLocks noGrp="1"/>
          </p:cNvSpPr>
          <p:nvPr>
            <p:ph type="dt" sz="half" idx="10"/>
          </p:nvPr>
        </p:nvSpPr>
        <p:spPr>
          <a:xfrm>
            <a:off x="848962" y="6034276"/>
            <a:ext cx="94957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/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798532" y="6034276"/>
            <a:ext cx="2895600" cy="365125"/>
          </a:xfrm>
        </p:spPr>
        <p:txBody>
          <a:bodyPr/>
          <a:lstStyle>
            <a:lvl1pPr algn="l"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Продукт «Единый остаток»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Изображение 13" descr="ПЛ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19" y="6110630"/>
            <a:ext cx="215585" cy="22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5201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в два уров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Текст 3"/>
          <p:cNvSpPr>
            <a:spLocks noGrp="1"/>
          </p:cNvSpPr>
          <p:nvPr>
            <p:ph type="body" sz="half" idx="2"/>
          </p:nvPr>
        </p:nvSpPr>
        <p:spPr>
          <a:xfrm>
            <a:off x="3545516" y="3013555"/>
            <a:ext cx="5232781" cy="804862"/>
          </a:xfrm>
        </p:spPr>
        <p:txBody>
          <a:bodyPr>
            <a:normAutofit/>
          </a:bodyPr>
          <a:lstStyle>
            <a:lvl1pPr marL="244459" indent="-244459">
              <a:buClr>
                <a:srgbClr val="00BAE3"/>
              </a:buClr>
              <a:buFont typeface="Arial"/>
              <a:buChar char="•"/>
              <a:defRPr sz="1198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5"/>
          </p:nvPr>
        </p:nvSpPr>
        <p:spPr>
          <a:xfrm>
            <a:off x="455469" y="5295444"/>
            <a:ext cx="2735496" cy="814024"/>
          </a:xfrm>
        </p:spPr>
        <p:txBody>
          <a:bodyPr anchor="t"/>
          <a:lstStyle>
            <a:lvl1pPr marL="0" indent="0" algn="r">
              <a:buFontTx/>
              <a:buNone/>
              <a:defRPr sz="1369">
                <a:solidFill>
                  <a:srgbClr val="466CB3"/>
                </a:solidFill>
                <a:latin typeface="Arial"/>
                <a:cs typeface="Arial"/>
              </a:defRPr>
            </a:lvl1pPr>
            <a:lvl2pPr marL="0" indent="0" algn="r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Содержимое 2"/>
          <p:cNvSpPr>
            <a:spLocks noGrp="1"/>
          </p:cNvSpPr>
          <p:nvPr>
            <p:ph idx="17"/>
          </p:nvPr>
        </p:nvSpPr>
        <p:spPr>
          <a:xfrm>
            <a:off x="455469" y="4143859"/>
            <a:ext cx="2735496" cy="814024"/>
          </a:xfrm>
        </p:spPr>
        <p:txBody>
          <a:bodyPr anchor="t"/>
          <a:lstStyle>
            <a:lvl1pPr marL="0" indent="0" algn="r">
              <a:buFontTx/>
              <a:buNone/>
              <a:defRPr sz="1369">
                <a:solidFill>
                  <a:srgbClr val="466CB3"/>
                </a:solidFill>
                <a:latin typeface="Arial"/>
                <a:cs typeface="Arial"/>
              </a:defRPr>
            </a:lvl1pPr>
            <a:lvl2pPr marL="0" indent="0" algn="r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8" name="Содержимое 2"/>
          <p:cNvSpPr>
            <a:spLocks noGrp="1"/>
          </p:cNvSpPr>
          <p:nvPr>
            <p:ph idx="19"/>
          </p:nvPr>
        </p:nvSpPr>
        <p:spPr>
          <a:xfrm>
            <a:off x="455469" y="3004393"/>
            <a:ext cx="2735496" cy="814024"/>
          </a:xfrm>
        </p:spPr>
        <p:txBody>
          <a:bodyPr anchor="t"/>
          <a:lstStyle>
            <a:lvl1pPr marL="0" indent="0" algn="r">
              <a:buFontTx/>
              <a:buNone/>
              <a:defRPr sz="1369">
                <a:solidFill>
                  <a:srgbClr val="466CB3"/>
                </a:solidFill>
                <a:latin typeface="Arial"/>
                <a:cs typeface="Arial"/>
              </a:defRPr>
            </a:lvl1pPr>
            <a:lvl2pPr marL="0" indent="0" algn="r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1" name="Содержимое 2"/>
          <p:cNvSpPr>
            <a:spLocks noGrp="1"/>
          </p:cNvSpPr>
          <p:nvPr>
            <p:ph idx="21"/>
          </p:nvPr>
        </p:nvSpPr>
        <p:spPr>
          <a:xfrm>
            <a:off x="455469" y="1852808"/>
            <a:ext cx="2735496" cy="814024"/>
          </a:xfrm>
        </p:spPr>
        <p:txBody>
          <a:bodyPr anchor="t"/>
          <a:lstStyle>
            <a:lvl1pPr marL="0" indent="0" algn="r">
              <a:buFontTx/>
              <a:buNone/>
              <a:defRPr sz="1369">
                <a:solidFill>
                  <a:srgbClr val="466CB3"/>
                </a:solidFill>
                <a:latin typeface="Arial"/>
                <a:cs typeface="Arial"/>
              </a:defRPr>
            </a:lvl1pPr>
            <a:lvl2pPr marL="0" indent="0" algn="r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half" idx="22"/>
          </p:nvPr>
        </p:nvSpPr>
        <p:spPr>
          <a:xfrm>
            <a:off x="3545516" y="4153021"/>
            <a:ext cx="5232781" cy="804862"/>
          </a:xfrm>
        </p:spPr>
        <p:txBody>
          <a:bodyPr>
            <a:normAutofit/>
          </a:bodyPr>
          <a:lstStyle>
            <a:lvl1pPr marL="244459" indent="-244459">
              <a:buClr>
                <a:srgbClr val="00BAE3"/>
              </a:buClr>
              <a:buFont typeface="Arial"/>
              <a:buChar char="•"/>
              <a:defRPr sz="1198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5" name="Текст 3"/>
          <p:cNvSpPr>
            <a:spLocks noGrp="1"/>
          </p:cNvSpPr>
          <p:nvPr>
            <p:ph type="body" sz="half" idx="23"/>
          </p:nvPr>
        </p:nvSpPr>
        <p:spPr>
          <a:xfrm>
            <a:off x="3545516" y="5304606"/>
            <a:ext cx="5232781" cy="804862"/>
          </a:xfrm>
        </p:spPr>
        <p:txBody>
          <a:bodyPr>
            <a:normAutofit/>
          </a:bodyPr>
          <a:lstStyle>
            <a:lvl1pPr marL="244459" indent="-244459">
              <a:buClr>
                <a:srgbClr val="00BAE3"/>
              </a:buClr>
              <a:buFont typeface="Arial"/>
              <a:buChar char="•"/>
              <a:defRPr sz="1198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6" name="Текст 3"/>
          <p:cNvSpPr>
            <a:spLocks noGrp="1"/>
          </p:cNvSpPr>
          <p:nvPr>
            <p:ph type="body" sz="half" idx="24"/>
          </p:nvPr>
        </p:nvSpPr>
        <p:spPr>
          <a:xfrm>
            <a:off x="3545516" y="1852808"/>
            <a:ext cx="5232781" cy="804862"/>
          </a:xfrm>
        </p:spPr>
        <p:txBody>
          <a:bodyPr>
            <a:normAutofit/>
          </a:bodyPr>
          <a:lstStyle>
            <a:lvl1pPr marL="244459" indent="-244459">
              <a:buClr>
                <a:srgbClr val="00BAE3"/>
              </a:buClr>
              <a:buFont typeface="Arial"/>
              <a:buChar char="•"/>
              <a:defRPr sz="1198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8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457200" y="553448"/>
            <a:ext cx="3820294" cy="658749"/>
          </a:xfrm>
        </p:spPr>
        <p:txBody>
          <a:bodyPr anchor="t">
            <a:normAutofit/>
          </a:bodyPr>
          <a:lstStyle>
            <a:lvl1pPr algn="l">
              <a:defRPr sz="1540">
                <a:solidFill>
                  <a:srgbClr val="466CB3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034276"/>
            <a:ext cx="213360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Номер слайд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1" name="Дата 3"/>
          <p:cNvSpPr>
            <a:spLocks noGrp="1"/>
          </p:cNvSpPr>
          <p:nvPr>
            <p:ph type="dt" sz="half" idx="10"/>
          </p:nvPr>
        </p:nvSpPr>
        <p:spPr>
          <a:xfrm>
            <a:off x="848962" y="6034276"/>
            <a:ext cx="94957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/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2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798532" y="6034276"/>
            <a:ext cx="2895600" cy="365125"/>
          </a:xfrm>
        </p:spPr>
        <p:txBody>
          <a:bodyPr/>
          <a:lstStyle>
            <a:lvl1pPr algn="l"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Продукт «Единый остаток»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Изображение 19" descr="ПЛ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19" y="6110630"/>
            <a:ext cx="215585" cy="22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9883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начок и текст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2"/>
          <p:cNvSpPr>
            <a:spLocks noGrp="1"/>
          </p:cNvSpPr>
          <p:nvPr>
            <p:ph type="pic" idx="15"/>
          </p:nvPr>
        </p:nvSpPr>
        <p:spPr>
          <a:xfrm>
            <a:off x="4298593" y="1677686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 dirty="0"/>
          </a:p>
        </p:txBody>
      </p:sp>
      <p:sp>
        <p:nvSpPr>
          <p:cNvPr id="12" name="Рисунок 2"/>
          <p:cNvSpPr>
            <a:spLocks noGrp="1"/>
          </p:cNvSpPr>
          <p:nvPr>
            <p:ph type="pic" idx="59"/>
          </p:nvPr>
        </p:nvSpPr>
        <p:spPr>
          <a:xfrm>
            <a:off x="7219340" y="1677686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 dirty="0"/>
          </a:p>
        </p:txBody>
      </p:sp>
      <p:sp>
        <p:nvSpPr>
          <p:cNvPr id="15" name="Рисунок 2"/>
          <p:cNvSpPr>
            <a:spLocks noGrp="1"/>
          </p:cNvSpPr>
          <p:nvPr>
            <p:ph type="pic" idx="62"/>
          </p:nvPr>
        </p:nvSpPr>
        <p:spPr>
          <a:xfrm>
            <a:off x="1347809" y="1677686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idx="63"/>
          </p:nvPr>
        </p:nvSpPr>
        <p:spPr>
          <a:xfrm>
            <a:off x="3373673" y="2725236"/>
            <a:ext cx="2357688" cy="741645"/>
          </a:xfrm>
        </p:spPr>
        <p:txBody>
          <a:bodyPr anchor="t"/>
          <a:lstStyle>
            <a:lvl1pPr marL="0" indent="0" algn="l">
              <a:buFontTx/>
              <a:buNone/>
              <a:defRPr sz="1369">
                <a:solidFill>
                  <a:srgbClr val="595959"/>
                </a:solidFill>
                <a:latin typeface="Arial"/>
                <a:cs typeface="Arial"/>
              </a:defRPr>
            </a:lvl1pPr>
            <a:lvl2pPr marL="0" indent="0" algn="r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7" name="Текст 3"/>
          <p:cNvSpPr>
            <a:spLocks noGrp="1"/>
          </p:cNvSpPr>
          <p:nvPr>
            <p:ph type="body" sz="half" idx="64"/>
          </p:nvPr>
        </p:nvSpPr>
        <p:spPr>
          <a:xfrm>
            <a:off x="3373673" y="3466880"/>
            <a:ext cx="2358069" cy="2424393"/>
          </a:xfrm>
        </p:spPr>
        <p:txBody>
          <a:bodyPr>
            <a:normAutofit/>
          </a:bodyPr>
          <a:lstStyle>
            <a:lvl1pPr marL="146675" indent="-146675">
              <a:buClr>
                <a:srgbClr val="466CB3"/>
              </a:buClr>
              <a:buFont typeface="Arial"/>
              <a:buChar char="•"/>
              <a:defRPr sz="1027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1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457200" y="553448"/>
            <a:ext cx="3820294" cy="658749"/>
          </a:xfrm>
        </p:spPr>
        <p:txBody>
          <a:bodyPr anchor="t">
            <a:normAutofit/>
          </a:bodyPr>
          <a:lstStyle>
            <a:lvl1pPr algn="l">
              <a:defRPr sz="1540">
                <a:solidFill>
                  <a:srgbClr val="466CB3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2" name="Содержимое 2"/>
          <p:cNvSpPr>
            <a:spLocks noGrp="1"/>
          </p:cNvSpPr>
          <p:nvPr>
            <p:ph idx="65"/>
          </p:nvPr>
        </p:nvSpPr>
        <p:spPr>
          <a:xfrm>
            <a:off x="6329112" y="2725236"/>
            <a:ext cx="2357688" cy="741645"/>
          </a:xfrm>
        </p:spPr>
        <p:txBody>
          <a:bodyPr anchor="t"/>
          <a:lstStyle>
            <a:lvl1pPr marL="0" indent="0" algn="l">
              <a:buFontTx/>
              <a:buNone/>
              <a:defRPr sz="1369">
                <a:solidFill>
                  <a:srgbClr val="595959"/>
                </a:solidFill>
                <a:latin typeface="Arial"/>
                <a:cs typeface="Arial"/>
              </a:defRPr>
            </a:lvl1pPr>
            <a:lvl2pPr marL="0" indent="0" algn="r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3" name="Текст 3"/>
          <p:cNvSpPr>
            <a:spLocks noGrp="1"/>
          </p:cNvSpPr>
          <p:nvPr>
            <p:ph type="body" sz="half" idx="66"/>
          </p:nvPr>
        </p:nvSpPr>
        <p:spPr>
          <a:xfrm>
            <a:off x="6329113" y="3466880"/>
            <a:ext cx="2358069" cy="2424393"/>
          </a:xfrm>
        </p:spPr>
        <p:txBody>
          <a:bodyPr>
            <a:normAutofit/>
          </a:bodyPr>
          <a:lstStyle>
            <a:lvl1pPr marL="146675" indent="-146675">
              <a:buClr>
                <a:srgbClr val="466CB3"/>
              </a:buClr>
              <a:buFont typeface="Arial"/>
              <a:buChar char="•"/>
              <a:defRPr sz="1027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4" name="Содержимое 2"/>
          <p:cNvSpPr>
            <a:spLocks noGrp="1"/>
          </p:cNvSpPr>
          <p:nvPr>
            <p:ph idx="67"/>
          </p:nvPr>
        </p:nvSpPr>
        <p:spPr>
          <a:xfrm>
            <a:off x="457200" y="2725236"/>
            <a:ext cx="2357688" cy="741645"/>
          </a:xfrm>
        </p:spPr>
        <p:txBody>
          <a:bodyPr anchor="t"/>
          <a:lstStyle>
            <a:lvl1pPr marL="0" indent="0" algn="l">
              <a:buFontTx/>
              <a:buNone/>
              <a:defRPr sz="1369">
                <a:solidFill>
                  <a:srgbClr val="595959"/>
                </a:solidFill>
                <a:latin typeface="Arial"/>
                <a:cs typeface="Arial"/>
              </a:defRPr>
            </a:lvl1pPr>
            <a:lvl2pPr marL="0" indent="0" algn="r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5" name="Текст 3"/>
          <p:cNvSpPr>
            <a:spLocks noGrp="1"/>
          </p:cNvSpPr>
          <p:nvPr>
            <p:ph type="body" sz="half" idx="68"/>
          </p:nvPr>
        </p:nvSpPr>
        <p:spPr>
          <a:xfrm>
            <a:off x="457201" y="3466880"/>
            <a:ext cx="2358069" cy="2424393"/>
          </a:xfrm>
        </p:spPr>
        <p:txBody>
          <a:bodyPr>
            <a:normAutofit/>
          </a:bodyPr>
          <a:lstStyle>
            <a:lvl1pPr marL="146675" indent="-146675">
              <a:buClr>
                <a:srgbClr val="466CB3"/>
              </a:buClr>
              <a:buFont typeface="Arial"/>
              <a:buChar char="•"/>
              <a:defRPr sz="1027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034276"/>
            <a:ext cx="213360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Номер слайд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8" name="Дата 3"/>
          <p:cNvSpPr>
            <a:spLocks noGrp="1"/>
          </p:cNvSpPr>
          <p:nvPr>
            <p:ph type="dt" sz="half" idx="10"/>
          </p:nvPr>
        </p:nvSpPr>
        <p:spPr>
          <a:xfrm>
            <a:off x="848962" y="6034276"/>
            <a:ext cx="94957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/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798532" y="6034276"/>
            <a:ext cx="2895600" cy="365125"/>
          </a:xfrm>
        </p:spPr>
        <p:txBody>
          <a:bodyPr/>
          <a:lstStyle>
            <a:lvl1pPr algn="l"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Продукт «Единый остаток»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8" name="Изображение 17" descr="ПЛ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19" y="6110630"/>
            <a:ext cx="215585" cy="22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804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457200" y="553448"/>
            <a:ext cx="3820294" cy="658749"/>
          </a:xfrm>
        </p:spPr>
        <p:txBody>
          <a:bodyPr anchor="t">
            <a:normAutofit/>
          </a:bodyPr>
          <a:lstStyle>
            <a:lvl1pPr algn="l">
              <a:defRPr sz="1540">
                <a:solidFill>
                  <a:srgbClr val="466CB3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034276"/>
            <a:ext cx="213360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Номер слайд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Дата 3"/>
          <p:cNvSpPr>
            <a:spLocks noGrp="1"/>
          </p:cNvSpPr>
          <p:nvPr>
            <p:ph type="dt" sz="half" idx="10"/>
          </p:nvPr>
        </p:nvSpPr>
        <p:spPr>
          <a:xfrm>
            <a:off x="848962" y="6034276"/>
            <a:ext cx="94957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/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798532" y="6034276"/>
            <a:ext cx="2895600" cy="365125"/>
          </a:xfrm>
        </p:spPr>
        <p:txBody>
          <a:bodyPr/>
          <a:lstStyle>
            <a:lvl1pPr algn="l"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Продукт «Единый остаток»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Изображение 8" descr="ПЛ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19" y="6110630"/>
            <a:ext cx="215585" cy="22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2990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E5F36A-4563-4DCF-8D56-530F25151C4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2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4065280"/>
          </a:xfrm>
        </p:spPr>
        <p:txBody>
          <a:bodyPr/>
          <a:lstStyle>
            <a:lvl1pPr marL="0" indent="0">
              <a:buNone/>
              <a:defRPr sz="3080"/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260" y="6356351"/>
            <a:ext cx="94957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Дат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ctrTitle" hasCustomPrompt="1"/>
          </p:nvPr>
        </p:nvSpPr>
        <p:spPr>
          <a:xfrm>
            <a:off x="836791" y="2792663"/>
            <a:ext cx="3400531" cy="1086451"/>
          </a:xfrm>
        </p:spPr>
        <p:txBody>
          <a:bodyPr anchor="t">
            <a:normAutofit/>
          </a:bodyPr>
          <a:lstStyle>
            <a:lvl1pPr marL="0" marR="0" indent="0" algn="l" defTabSz="4460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82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ОСНОВНОЙ ЗАГОЛОВОК</a:t>
            </a:r>
            <a:br>
              <a:rPr lang="ru-RU" dirty="0" smtClean="0"/>
            </a:br>
            <a:r>
              <a:rPr lang="ru-RU" dirty="0" smtClean="0"/>
              <a:t>МОЖЕТ БЫТЬ</a:t>
            </a:r>
            <a:br>
              <a:rPr lang="ru-RU" dirty="0" smtClean="0"/>
            </a:br>
            <a:r>
              <a:rPr lang="ru-RU" dirty="0" smtClean="0"/>
              <a:t>В ТРИ СТРОКИ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836120" y="3879114"/>
            <a:ext cx="3401202" cy="850542"/>
          </a:xfrm>
        </p:spPr>
        <p:txBody>
          <a:bodyPr anchor="t">
            <a:normAutofit/>
          </a:bodyPr>
          <a:lstStyle>
            <a:lvl1pPr marL="0" marR="0" indent="0" algn="l" defTabSz="4460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98">
                <a:solidFill>
                  <a:srgbClr val="FFFFFF"/>
                </a:solidFill>
                <a:latin typeface="Arial"/>
                <a:cs typeface="Arial"/>
              </a:defRPr>
            </a:lvl1pPr>
            <a:lvl2pPr marL="4460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2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8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4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04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6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2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8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 </a:t>
            </a:r>
          </a:p>
          <a:p>
            <a:r>
              <a:rPr lang="ru-RU" dirty="0" smtClean="0"/>
              <a:t>так же может занимать </a:t>
            </a:r>
          </a:p>
          <a:p>
            <a:r>
              <a:rPr lang="ru-RU" dirty="0" smtClean="0"/>
              <a:t>несколько строк 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533344" y="5435079"/>
            <a:ext cx="1564852" cy="4610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В жизни всегда </a:t>
            </a:r>
            <a:endParaRPr lang="en-US" sz="1198" dirty="0" smtClean="0">
              <a:solidFill>
                <a:prstClr val="black">
                  <a:lumMod val="50000"/>
                  <a:lumOff val="50000"/>
                </a:prstClr>
              </a:solidFill>
              <a:latin typeface="Calibri"/>
            </a:endParaRPr>
          </a:p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есть место открытию</a:t>
            </a:r>
            <a:endParaRPr lang="ru-RU" sz="1198" dirty="0">
              <a:solidFill>
                <a:prstClr val="black">
                  <a:lumMod val="50000"/>
                  <a:lumOff val="50000"/>
                </a:prstClr>
              </a:solidFill>
              <a:latin typeface="Calibri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543221" y="5874778"/>
            <a:ext cx="923651" cy="2766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en-US" sz="1198" dirty="0" smtClean="0">
                <a:solidFill>
                  <a:srgbClr val="466CB3"/>
                </a:solidFill>
                <a:latin typeface="Calibri"/>
              </a:rPr>
              <a:t>otkritiefc.</a:t>
            </a:r>
            <a:r>
              <a:rPr lang="en-US" sz="1198" dirty="0" smtClean="0">
                <a:solidFill>
                  <a:srgbClr val="7F7F7F"/>
                </a:solidFill>
                <a:latin typeface="Calibri"/>
              </a:rPr>
              <a:t>ru</a:t>
            </a:r>
            <a:endParaRPr lang="ru-RU" sz="1198" dirty="0">
              <a:solidFill>
                <a:srgbClr val="7F7F7F"/>
              </a:solidFill>
              <a:latin typeface="Calibri"/>
            </a:endParaRPr>
          </a:p>
        </p:txBody>
      </p:sp>
      <p:pic>
        <p:nvPicPr>
          <p:cNvPr id="8" name="Изображение 7" descr="open_fin_rus_v_Pantone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9547" y="5550118"/>
            <a:ext cx="3122808" cy="444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322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нач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1" descr="ПЛ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19" y="6110630"/>
            <a:ext cx="215585" cy="228516"/>
          </a:xfrm>
          <a:prstGeom prst="rect">
            <a:avLst/>
          </a:prstGeom>
        </p:spPr>
      </p:pic>
      <p:sp>
        <p:nvSpPr>
          <p:cNvPr id="22" name="Рисунок 2"/>
          <p:cNvSpPr>
            <a:spLocks noGrp="1"/>
          </p:cNvSpPr>
          <p:nvPr>
            <p:ph type="pic" idx="14"/>
          </p:nvPr>
        </p:nvSpPr>
        <p:spPr>
          <a:xfrm>
            <a:off x="1222002" y="3677130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/>
          </a:p>
        </p:txBody>
      </p:sp>
      <p:sp>
        <p:nvSpPr>
          <p:cNvPr id="23" name="Рисунок 2"/>
          <p:cNvSpPr>
            <a:spLocks noGrp="1"/>
          </p:cNvSpPr>
          <p:nvPr>
            <p:ph type="pic" idx="15"/>
          </p:nvPr>
        </p:nvSpPr>
        <p:spPr>
          <a:xfrm>
            <a:off x="1222002" y="1871639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 dirty="0"/>
          </a:p>
        </p:txBody>
      </p:sp>
      <p:sp>
        <p:nvSpPr>
          <p:cNvPr id="2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034276"/>
            <a:ext cx="213360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Номер слайд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>
          <a:xfrm>
            <a:off x="848962" y="6034276"/>
            <a:ext cx="94957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Дат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798532" y="6034276"/>
            <a:ext cx="2895600" cy="365125"/>
          </a:xfrm>
        </p:spPr>
        <p:txBody>
          <a:bodyPr/>
          <a:lstStyle>
            <a:lvl1pPr algn="l"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Название презентации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457200" y="553448"/>
            <a:ext cx="3820294" cy="658749"/>
          </a:xfrm>
        </p:spPr>
        <p:txBody>
          <a:bodyPr anchor="t">
            <a:normAutofit/>
          </a:bodyPr>
          <a:lstStyle>
            <a:lvl1pPr algn="l">
              <a:defRPr sz="1540">
                <a:solidFill>
                  <a:srgbClr val="466CB3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7" name="Содержимое 5"/>
          <p:cNvSpPr>
            <a:spLocks noGrp="1"/>
          </p:cNvSpPr>
          <p:nvPr>
            <p:ph idx="16"/>
          </p:nvPr>
        </p:nvSpPr>
        <p:spPr>
          <a:xfrm>
            <a:off x="2056954" y="3677130"/>
            <a:ext cx="6721342" cy="607951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369">
                <a:solidFill>
                  <a:srgbClr val="466CB3"/>
                </a:solidFill>
              </a:defRPr>
            </a:lvl1pPr>
          </a:lstStyle>
          <a:p>
            <a:r>
              <a:rPr lang="ru-RU" dirty="0" smtClean="0"/>
              <a:t>Название первого пункта</a:t>
            </a:r>
          </a:p>
          <a:p>
            <a:r>
              <a:rPr lang="ru-RU" dirty="0" smtClean="0"/>
              <a:t>может быть в две строки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half" idx="25"/>
          </p:nvPr>
        </p:nvSpPr>
        <p:spPr>
          <a:xfrm>
            <a:off x="2056954" y="4285081"/>
            <a:ext cx="6721342" cy="642464"/>
          </a:xfrm>
        </p:spPr>
        <p:txBody>
          <a:bodyPr>
            <a:normAutofit/>
          </a:bodyPr>
          <a:lstStyle>
            <a:lvl1pPr marL="0" indent="0">
              <a:buNone/>
              <a:defRPr sz="1198"/>
            </a:lvl1pPr>
          </a:lstStyle>
          <a:p>
            <a:r>
              <a:rPr lang="ru-RU" dirty="0" smtClean="0"/>
              <a:t>Основной текст</a:t>
            </a:r>
            <a:endParaRPr lang="ru-RU" dirty="0"/>
          </a:p>
        </p:txBody>
      </p:sp>
      <p:sp>
        <p:nvSpPr>
          <p:cNvPr id="21" name="Содержимое 5"/>
          <p:cNvSpPr>
            <a:spLocks noGrp="1"/>
          </p:cNvSpPr>
          <p:nvPr>
            <p:ph idx="26"/>
          </p:nvPr>
        </p:nvSpPr>
        <p:spPr>
          <a:xfrm>
            <a:off x="2056954" y="1852808"/>
            <a:ext cx="6721342" cy="607951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369">
                <a:solidFill>
                  <a:srgbClr val="466CB3"/>
                </a:solidFill>
              </a:defRPr>
            </a:lvl1pPr>
          </a:lstStyle>
          <a:p>
            <a:r>
              <a:rPr lang="ru-RU" dirty="0" smtClean="0"/>
              <a:t>Название первого пункта</a:t>
            </a:r>
          </a:p>
          <a:p>
            <a:r>
              <a:rPr lang="ru-RU" dirty="0" smtClean="0"/>
              <a:t>может быть в две строки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half" idx="27"/>
          </p:nvPr>
        </p:nvSpPr>
        <p:spPr>
          <a:xfrm>
            <a:off x="2056954" y="2460759"/>
            <a:ext cx="6721342" cy="642464"/>
          </a:xfrm>
        </p:spPr>
        <p:txBody>
          <a:bodyPr>
            <a:normAutofit/>
          </a:bodyPr>
          <a:lstStyle>
            <a:lvl1pPr marL="0" indent="0">
              <a:buNone/>
              <a:defRPr sz="1198"/>
            </a:lvl1pPr>
          </a:lstStyle>
          <a:p>
            <a:r>
              <a:rPr lang="ru-RU" dirty="0" smtClean="0"/>
              <a:t>Основной текст</a:t>
            </a:r>
            <a:endParaRPr lang="ru-RU" dirty="0"/>
          </a:p>
        </p:txBody>
      </p:sp>
      <p:sp>
        <p:nvSpPr>
          <p:cNvPr id="14" name="Рисунок 2"/>
          <p:cNvSpPr>
            <a:spLocks noGrp="1"/>
          </p:cNvSpPr>
          <p:nvPr>
            <p:ph type="pic" idx="28"/>
          </p:nvPr>
        </p:nvSpPr>
        <p:spPr>
          <a:xfrm>
            <a:off x="1183892" y="4669642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84917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одержимое 2"/>
          <p:cNvSpPr>
            <a:spLocks noGrp="1"/>
          </p:cNvSpPr>
          <p:nvPr>
            <p:ph idx="14"/>
          </p:nvPr>
        </p:nvSpPr>
        <p:spPr>
          <a:xfrm>
            <a:off x="4956271" y="1852807"/>
            <a:ext cx="3822025" cy="668561"/>
          </a:xfrm>
        </p:spPr>
        <p:txBody>
          <a:bodyPr anchor="t"/>
          <a:lstStyle>
            <a:lvl1pPr marL="0" indent="0">
              <a:buFontTx/>
              <a:buNone/>
              <a:defRPr sz="1369">
                <a:solidFill>
                  <a:srgbClr val="466CB3"/>
                </a:solidFill>
                <a:latin typeface="Arial"/>
                <a:cs typeface="Arial"/>
              </a:defRPr>
            </a:lvl1pPr>
            <a:lvl2pPr marL="0" indent="0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1" name="Содержимое 2"/>
          <p:cNvSpPr>
            <a:spLocks noGrp="1"/>
          </p:cNvSpPr>
          <p:nvPr>
            <p:ph idx="15"/>
          </p:nvPr>
        </p:nvSpPr>
        <p:spPr>
          <a:xfrm>
            <a:off x="455469" y="1852807"/>
            <a:ext cx="3822025" cy="668561"/>
          </a:xfrm>
        </p:spPr>
        <p:txBody>
          <a:bodyPr anchor="t"/>
          <a:lstStyle>
            <a:lvl1pPr marL="0" indent="0">
              <a:buFontTx/>
              <a:buNone/>
              <a:defRPr sz="1369">
                <a:solidFill>
                  <a:srgbClr val="466CB3"/>
                </a:solidFill>
                <a:latin typeface="Arial"/>
                <a:cs typeface="Arial"/>
              </a:defRPr>
            </a:lvl1pPr>
            <a:lvl2pPr marL="0" indent="0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457200" y="553448"/>
            <a:ext cx="3820294" cy="658749"/>
          </a:xfrm>
        </p:spPr>
        <p:txBody>
          <a:bodyPr anchor="t">
            <a:normAutofit/>
          </a:bodyPr>
          <a:lstStyle>
            <a:lvl1pPr algn="l">
              <a:defRPr sz="1540">
                <a:solidFill>
                  <a:srgbClr val="466CB3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half" idx="25"/>
          </p:nvPr>
        </p:nvSpPr>
        <p:spPr>
          <a:xfrm>
            <a:off x="4967709" y="2744698"/>
            <a:ext cx="3822025" cy="3195063"/>
          </a:xfrm>
        </p:spPr>
        <p:txBody>
          <a:bodyPr>
            <a:normAutofit/>
          </a:bodyPr>
          <a:lstStyle>
            <a:lvl1pPr marL="0" indent="0">
              <a:buNone/>
              <a:defRPr sz="1198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7" name="Текст 3"/>
          <p:cNvSpPr>
            <a:spLocks noGrp="1"/>
          </p:cNvSpPr>
          <p:nvPr>
            <p:ph type="body" sz="half" idx="26"/>
          </p:nvPr>
        </p:nvSpPr>
        <p:spPr>
          <a:xfrm>
            <a:off x="455469" y="2744698"/>
            <a:ext cx="3822025" cy="3195063"/>
          </a:xfrm>
        </p:spPr>
        <p:txBody>
          <a:bodyPr>
            <a:normAutofit/>
          </a:bodyPr>
          <a:lstStyle>
            <a:lvl1pPr marL="0" indent="0">
              <a:buNone/>
              <a:defRPr sz="1198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034276"/>
            <a:ext cx="213360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Номер слайд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Дата 3"/>
          <p:cNvSpPr>
            <a:spLocks noGrp="1"/>
          </p:cNvSpPr>
          <p:nvPr>
            <p:ph type="dt" sz="half" idx="10"/>
          </p:nvPr>
        </p:nvSpPr>
        <p:spPr>
          <a:xfrm>
            <a:off x="848962" y="6034276"/>
            <a:ext cx="94957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Дат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798532" y="6034276"/>
            <a:ext cx="2895600" cy="365125"/>
          </a:xfrm>
        </p:spPr>
        <p:txBody>
          <a:bodyPr/>
          <a:lstStyle>
            <a:lvl1pPr algn="l"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Название презентации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Изображение 13" descr="ПЛ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19" y="6110630"/>
            <a:ext cx="215585" cy="22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9190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в два уров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Текст 3"/>
          <p:cNvSpPr>
            <a:spLocks noGrp="1"/>
          </p:cNvSpPr>
          <p:nvPr>
            <p:ph type="body" sz="half" idx="2"/>
          </p:nvPr>
        </p:nvSpPr>
        <p:spPr>
          <a:xfrm>
            <a:off x="3545516" y="3013555"/>
            <a:ext cx="5232781" cy="804862"/>
          </a:xfrm>
        </p:spPr>
        <p:txBody>
          <a:bodyPr>
            <a:normAutofit/>
          </a:bodyPr>
          <a:lstStyle>
            <a:lvl1pPr marL="244459" indent="-244459">
              <a:buClr>
                <a:srgbClr val="00BAE3"/>
              </a:buClr>
              <a:buFont typeface="Arial"/>
              <a:buChar char="•"/>
              <a:defRPr sz="1198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5"/>
          </p:nvPr>
        </p:nvSpPr>
        <p:spPr>
          <a:xfrm>
            <a:off x="455469" y="5295444"/>
            <a:ext cx="2735496" cy="814024"/>
          </a:xfrm>
        </p:spPr>
        <p:txBody>
          <a:bodyPr anchor="t"/>
          <a:lstStyle>
            <a:lvl1pPr marL="0" indent="0" algn="r">
              <a:buFontTx/>
              <a:buNone/>
              <a:defRPr sz="1369">
                <a:solidFill>
                  <a:srgbClr val="466CB3"/>
                </a:solidFill>
                <a:latin typeface="Arial"/>
                <a:cs typeface="Arial"/>
              </a:defRPr>
            </a:lvl1pPr>
            <a:lvl2pPr marL="0" indent="0" algn="r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Содержимое 2"/>
          <p:cNvSpPr>
            <a:spLocks noGrp="1"/>
          </p:cNvSpPr>
          <p:nvPr>
            <p:ph idx="17"/>
          </p:nvPr>
        </p:nvSpPr>
        <p:spPr>
          <a:xfrm>
            <a:off x="455469" y="4143859"/>
            <a:ext cx="2735496" cy="814024"/>
          </a:xfrm>
        </p:spPr>
        <p:txBody>
          <a:bodyPr anchor="t"/>
          <a:lstStyle>
            <a:lvl1pPr marL="0" indent="0" algn="r">
              <a:buFontTx/>
              <a:buNone/>
              <a:defRPr sz="1369">
                <a:solidFill>
                  <a:srgbClr val="466CB3"/>
                </a:solidFill>
                <a:latin typeface="Arial"/>
                <a:cs typeface="Arial"/>
              </a:defRPr>
            </a:lvl1pPr>
            <a:lvl2pPr marL="0" indent="0" algn="r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8" name="Содержимое 2"/>
          <p:cNvSpPr>
            <a:spLocks noGrp="1"/>
          </p:cNvSpPr>
          <p:nvPr>
            <p:ph idx="19"/>
          </p:nvPr>
        </p:nvSpPr>
        <p:spPr>
          <a:xfrm>
            <a:off x="455469" y="3004393"/>
            <a:ext cx="2735496" cy="814024"/>
          </a:xfrm>
        </p:spPr>
        <p:txBody>
          <a:bodyPr anchor="t"/>
          <a:lstStyle>
            <a:lvl1pPr marL="0" indent="0" algn="r">
              <a:buFontTx/>
              <a:buNone/>
              <a:defRPr sz="1369">
                <a:solidFill>
                  <a:srgbClr val="466CB3"/>
                </a:solidFill>
                <a:latin typeface="Arial"/>
                <a:cs typeface="Arial"/>
              </a:defRPr>
            </a:lvl1pPr>
            <a:lvl2pPr marL="0" indent="0" algn="r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1" name="Содержимое 2"/>
          <p:cNvSpPr>
            <a:spLocks noGrp="1"/>
          </p:cNvSpPr>
          <p:nvPr>
            <p:ph idx="21"/>
          </p:nvPr>
        </p:nvSpPr>
        <p:spPr>
          <a:xfrm>
            <a:off x="455469" y="1852808"/>
            <a:ext cx="2735496" cy="814024"/>
          </a:xfrm>
        </p:spPr>
        <p:txBody>
          <a:bodyPr anchor="t"/>
          <a:lstStyle>
            <a:lvl1pPr marL="0" indent="0" algn="r">
              <a:buFontTx/>
              <a:buNone/>
              <a:defRPr sz="1369">
                <a:solidFill>
                  <a:srgbClr val="466CB3"/>
                </a:solidFill>
                <a:latin typeface="Arial"/>
                <a:cs typeface="Arial"/>
              </a:defRPr>
            </a:lvl1pPr>
            <a:lvl2pPr marL="0" indent="0" algn="r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half" idx="22"/>
          </p:nvPr>
        </p:nvSpPr>
        <p:spPr>
          <a:xfrm>
            <a:off x="3545516" y="4153021"/>
            <a:ext cx="5232781" cy="804862"/>
          </a:xfrm>
        </p:spPr>
        <p:txBody>
          <a:bodyPr>
            <a:normAutofit/>
          </a:bodyPr>
          <a:lstStyle>
            <a:lvl1pPr marL="244459" indent="-244459">
              <a:buClr>
                <a:srgbClr val="00BAE3"/>
              </a:buClr>
              <a:buFont typeface="Arial"/>
              <a:buChar char="•"/>
              <a:defRPr sz="1198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5" name="Текст 3"/>
          <p:cNvSpPr>
            <a:spLocks noGrp="1"/>
          </p:cNvSpPr>
          <p:nvPr>
            <p:ph type="body" sz="half" idx="23"/>
          </p:nvPr>
        </p:nvSpPr>
        <p:spPr>
          <a:xfrm>
            <a:off x="3545516" y="5304606"/>
            <a:ext cx="5232781" cy="804862"/>
          </a:xfrm>
        </p:spPr>
        <p:txBody>
          <a:bodyPr>
            <a:normAutofit/>
          </a:bodyPr>
          <a:lstStyle>
            <a:lvl1pPr marL="244459" indent="-244459">
              <a:buClr>
                <a:srgbClr val="00BAE3"/>
              </a:buClr>
              <a:buFont typeface="Arial"/>
              <a:buChar char="•"/>
              <a:defRPr sz="1198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6" name="Текст 3"/>
          <p:cNvSpPr>
            <a:spLocks noGrp="1"/>
          </p:cNvSpPr>
          <p:nvPr>
            <p:ph type="body" sz="half" idx="24"/>
          </p:nvPr>
        </p:nvSpPr>
        <p:spPr>
          <a:xfrm>
            <a:off x="3545516" y="1852808"/>
            <a:ext cx="5232781" cy="804862"/>
          </a:xfrm>
        </p:spPr>
        <p:txBody>
          <a:bodyPr>
            <a:normAutofit/>
          </a:bodyPr>
          <a:lstStyle>
            <a:lvl1pPr marL="244459" indent="-244459">
              <a:buClr>
                <a:srgbClr val="00BAE3"/>
              </a:buClr>
              <a:buFont typeface="Arial"/>
              <a:buChar char="•"/>
              <a:defRPr sz="1198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8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457200" y="553448"/>
            <a:ext cx="3820294" cy="658749"/>
          </a:xfrm>
        </p:spPr>
        <p:txBody>
          <a:bodyPr anchor="t">
            <a:normAutofit/>
          </a:bodyPr>
          <a:lstStyle>
            <a:lvl1pPr algn="l">
              <a:defRPr sz="1540">
                <a:solidFill>
                  <a:srgbClr val="466CB3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034276"/>
            <a:ext cx="213360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Номер слайд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1" name="Дата 3"/>
          <p:cNvSpPr>
            <a:spLocks noGrp="1"/>
          </p:cNvSpPr>
          <p:nvPr>
            <p:ph type="dt" sz="half" idx="10"/>
          </p:nvPr>
        </p:nvSpPr>
        <p:spPr>
          <a:xfrm>
            <a:off x="848962" y="6034276"/>
            <a:ext cx="94957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Дат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2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798532" y="6034276"/>
            <a:ext cx="2895600" cy="365125"/>
          </a:xfrm>
        </p:spPr>
        <p:txBody>
          <a:bodyPr/>
          <a:lstStyle>
            <a:lvl1pPr algn="l"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Название презентации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Изображение 19" descr="ПЛ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19" y="6110630"/>
            <a:ext cx="215585" cy="22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2226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начок и текст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2"/>
          <p:cNvSpPr>
            <a:spLocks noGrp="1"/>
          </p:cNvSpPr>
          <p:nvPr>
            <p:ph type="pic" idx="15"/>
          </p:nvPr>
        </p:nvSpPr>
        <p:spPr>
          <a:xfrm>
            <a:off x="4298593" y="1677686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 dirty="0"/>
          </a:p>
        </p:txBody>
      </p:sp>
      <p:sp>
        <p:nvSpPr>
          <p:cNvPr id="12" name="Рисунок 2"/>
          <p:cNvSpPr>
            <a:spLocks noGrp="1"/>
          </p:cNvSpPr>
          <p:nvPr>
            <p:ph type="pic" idx="59"/>
          </p:nvPr>
        </p:nvSpPr>
        <p:spPr>
          <a:xfrm>
            <a:off x="7219340" y="1677686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 dirty="0"/>
          </a:p>
        </p:txBody>
      </p:sp>
      <p:sp>
        <p:nvSpPr>
          <p:cNvPr id="15" name="Рисунок 2"/>
          <p:cNvSpPr>
            <a:spLocks noGrp="1"/>
          </p:cNvSpPr>
          <p:nvPr>
            <p:ph type="pic" idx="62"/>
          </p:nvPr>
        </p:nvSpPr>
        <p:spPr>
          <a:xfrm>
            <a:off x="1347809" y="1677686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idx="63"/>
          </p:nvPr>
        </p:nvSpPr>
        <p:spPr>
          <a:xfrm>
            <a:off x="3373673" y="2725236"/>
            <a:ext cx="2357688" cy="741645"/>
          </a:xfrm>
        </p:spPr>
        <p:txBody>
          <a:bodyPr anchor="t"/>
          <a:lstStyle>
            <a:lvl1pPr marL="0" indent="0" algn="l">
              <a:buFontTx/>
              <a:buNone/>
              <a:defRPr sz="1369">
                <a:solidFill>
                  <a:srgbClr val="595959"/>
                </a:solidFill>
                <a:latin typeface="Arial"/>
                <a:cs typeface="Arial"/>
              </a:defRPr>
            </a:lvl1pPr>
            <a:lvl2pPr marL="0" indent="0" algn="r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7" name="Текст 3"/>
          <p:cNvSpPr>
            <a:spLocks noGrp="1"/>
          </p:cNvSpPr>
          <p:nvPr>
            <p:ph type="body" sz="half" idx="64"/>
          </p:nvPr>
        </p:nvSpPr>
        <p:spPr>
          <a:xfrm>
            <a:off x="3373673" y="3466880"/>
            <a:ext cx="2358069" cy="2424393"/>
          </a:xfrm>
        </p:spPr>
        <p:txBody>
          <a:bodyPr>
            <a:normAutofit/>
          </a:bodyPr>
          <a:lstStyle>
            <a:lvl1pPr marL="146675" indent="-146675">
              <a:buClr>
                <a:srgbClr val="466CB3"/>
              </a:buClr>
              <a:buFont typeface="Arial"/>
              <a:buChar char="•"/>
              <a:defRPr sz="1027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1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457200" y="553448"/>
            <a:ext cx="3820294" cy="658749"/>
          </a:xfrm>
        </p:spPr>
        <p:txBody>
          <a:bodyPr anchor="t">
            <a:normAutofit/>
          </a:bodyPr>
          <a:lstStyle>
            <a:lvl1pPr algn="l">
              <a:defRPr sz="1540">
                <a:solidFill>
                  <a:srgbClr val="466CB3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2" name="Содержимое 2"/>
          <p:cNvSpPr>
            <a:spLocks noGrp="1"/>
          </p:cNvSpPr>
          <p:nvPr>
            <p:ph idx="65"/>
          </p:nvPr>
        </p:nvSpPr>
        <p:spPr>
          <a:xfrm>
            <a:off x="6329112" y="2725236"/>
            <a:ext cx="2357688" cy="741645"/>
          </a:xfrm>
        </p:spPr>
        <p:txBody>
          <a:bodyPr anchor="t"/>
          <a:lstStyle>
            <a:lvl1pPr marL="0" indent="0" algn="l">
              <a:buFontTx/>
              <a:buNone/>
              <a:defRPr sz="1369">
                <a:solidFill>
                  <a:srgbClr val="595959"/>
                </a:solidFill>
                <a:latin typeface="Arial"/>
                <a:cs typeface="Arial"/>
              </a:defRPr>
            </a:lvl1pPr>
            <a:lvl2pPr marL="0" indent="0" algn="r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3" name="Текст 3"/>
          <p:cNvSpPr>
            <a:spLocks noGrp="1"/>
          </p:cNvSpPr>
          <p:nvPr>
            <p:ph type="body" sz="half" idx="66"/>
          </p:nvPr>
        </p:nvSpPr>
        <p:spPr>
          <a:xfrm>
            <a:off x="6329113" y="3466880"/>
            <a:ext cx="2358069" cy="2424393"/>
          </a:xfrm>
        </p:spPr>
        <p:txBody>
          <a:bodyPr>
            <a:normAutofit/>
          </a:bodyPr>
          <a:lstStyle>
            <a:lvl1pPr marL="146675" indent="-146675">
              <a:buClr>
                <a:srgbClr val="466CB3"/>
              </a:buClr>
              <a:buFont typeface="Arial"/>
              <a:buChar char="•"/>
              <a:defRPr sz="1027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4" name="Содержимое 2"/>
          <p:cNvSpPr>
            <a:spLocks noGrp="1"/>
          </p:cNvSpPr>
          <p:nvPr>
            <p:ph idx="67"/>
          </p:nvPr>
        </p:nvSpPr>
        <p:spPr>
          <a:xfrm>
            <a:off x="457200" y="2725236"/>
            <a:ext cx="2357688" cy="741645"/>
          </a:xfrm>
        </p:spPr>
        <p:txBody>
          <a:bodyPr anchor="t"/>
          <a:lstStyle>
            <a:lvl1pPr marL="0" indent="0" algn="l">
              <a:buFontTx/>
              <a:buNone/>
              <a:defRPr sz="1369">
                <a:solidFill>
                  <a:srgbClr val="595959"/>
                </a:solidFill>
                <a:latin typeface="Arial"/>
                <a:cs typeface="Arial"/>
              </a:defRPr>
            </a:lvl1pPr>
            <a:lvl2pPr marL="0" indent="0" algn="r">
              <a:buFontTx/>
              <a:buNone/>
              <a:defRPr sz="1198"/>
            </a:lvl2pPr>
            <a:lvl3pPr marL="892179" indent="0">
              <a:buFontTx/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5" name="Текст 3"/>
          <p:cNvSpPr>
            <a:spLocks noGrp="1"/>
          </p:cNvSpPr>
          <p:nvPr>
            <p:ph type="body" sz="half" idx="68"/>
          </p:nvPr>
        </p:nvSpPr>
        <p:spPr>
          <a:xfrm>
            <a:off x="457201" y="3466880"/>
            <a:ext cx="2358069" cy="2424393"/>
          </a:xfrm>
        </p:spPr>
        <p:txBody>
          <a:bodyPr>
            <a:normAutofit/>
          </a:bodyPr>
          <a:lstStyle>
            <a:lvl1pPr marL="146675" indent="-146675">
              <a:buClr>
                <a:srgbClr val="466CB3"/>
              </a:buClr>
              <a:buFont typeface="Arial"/>
              <a:buChar char="•"/>
              <a:defRPr sz="1027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034276"/>
            <a:ext cx="213360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Номер слайд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8" name="Дата 3"/>
          <p:cNvSpPr>
            <a:spLocks noGrp="1"/>
          </p:cNvSpPr>
          <p:nvPr>
            <p:ph type="dt" sz="half" idx="10"/>
          </p:nvPr>
        </p:nvSpPr>
        <p:spPr>
          <a:xfrm>
            <a:off x="848962" y="6034276"/>
            <a:ext cx="94957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Дат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798532" y="6034276"/>
            <a:ext cx="2895600" cy="365125"/>
          </a:xfrm>
        </p:spPr>
        <p:txBody>
          <a:bodyPr/>
          <a:lstStyle>
            <a:lvl1pPr algn="l"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Название презентации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8" name="Изображение 17" descr="ПЛ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19" y="6110630"/>
            <a:ext cx="215585" cy="22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7723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457200" y="553448"/>
            <a:ext cx="3820294" cy="658749"/>
          </a:xfrm>
        </p:spPr>
        <p:txBody>
          <a:bodyPr anchor="t">
            <a:normAutofit/>
          </a:bodyPr>
          <a:lstStyle>
            <a:lvl1pPr algn="l">
              <a:defRPr sz="1540">
                <a:solidFill>
                  <a:srgbClr val="466CB3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034276"/>
            <a:ext cx="213360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Номер слайд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Дата 3"/>
          <p:cNvSpPr>
            <a:spLocks noGrp="1"/>
          </p:cNvSpPr>
          <p:nvPr>
            <p:ph type="dt" sz="half" idx="10"/>
          </p:nvPr>
        </p:nvSpPr>
        <p:spPr>
          <a:xfrm>
            <a:off x="848962" y="6034276"/>
            <a:ext cx="94957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Дат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798532" y="6034276"/>
            <a:ext cx="2895600" cy="365125"/>
          </a:xfrm>
        </p:spPr>
        <p:txBody>
          <a:bodyPr/>
          <a:lstStyle>
            <a:lvl1pPr algn="l"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Название презентации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Изображение 8" descr="ПЛ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19" y="6110630"/>
            <a:ext cx="215585" cy="22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46364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нач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Изображение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5071"/>
          <a:stretch/>
        </p:blipFill>
        <p:spPr>
          <a:xfrm>
            <a:off x="477052" y="6112285"/>
            <a:ext cx="238989" cy="229740"/>
          </a:xfrm>
          <a:prstGeom prst="rect">
            <a:avLst/>
          </a:prstGeom>
        </p:spPr>
      </p:pic>
      <p:sp>
        <p:nvSpPr>
          <p:cNvPr id="22" name="Рисунок 2"/>
          <p:cNvSpPr>
            <a:spLocks noGrp="1"/>
          </p:cNvSpPr>
          <p:nvPr>
            <p:ph type="pic" idx="14"/>
          </p:nvPr>
        </p:nvSpPr>
        <p:spPr>
          <a:xfrm>
            <a:off x="1222002" y="3677130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/>
          </a:p>
        </p:txBody>
      </p:sp>
      <p:sp>
        <p:nvSpPr>
          <p:cNvPr id="23" name="Рисунок 2"/>
          <p:cNvSpPr>
            <a:spLocks noGrp="1"/>
          </p:cNvSpPr>
          <p:nvPr>
            <p:ph type="pic" idx="15"/>
          </p:nvPr>
        </p:nvSpPr>
        <p:spPr>
          <a:xfrm>
            <a:off x="1222002" y="1871639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 dirty="0"/>
          </a:p>
        </p:txBody>
      </p:sp>
      <p:sp>
        <p:nvSpPr>
          <p:cNvPr id="2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034276"/>
            <a:ext cx="2133600" cy="365125"/>
          </a:xfrm>
        </p:spPr>
        <p:txBody>
          <a:bodyPr/>
          <a:lstStyle>
            <a:lvl1pPr>
              <a:defRPr sz="1711" b="0" i="0">
                <a:latin typeface="Whitney Book"/>
                <a:cs typeface="Whitney Book"/>
              </a:defRPr>
            </a:lvl1pPr>
          </a:lstStyle>
          <a:p>
            <a:fld id="{5409BC02-EF9C-2045-9FAB-AA372030877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>
          <a:xfrm>
            <a:off x="848962" y="6034276"/>
            <a:ext cx="949570" cy="365125"/>
          </a:xfrm>
        </p:spPr>
        <p:txBody>
          <a:bodyPr/>
          <a:lstStyle>
            <a:lvl1pPr>
              <a:defRPr sz="1027" b="0" i="0">
                <a:latin typeface="Whitney Light"/>
                <a:cs typeface="Whitney Light"/>
              </a:defRPr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5 Май 2014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798532" y="6034276"/>
            <a:ext cx="2895600" cy="365125"/>
          </a:xfrm>
        </p:spPr>
        <p:txBody>
          <a:bodyPr/>
          <a:lstStyle>
            <a:lvl1pPr algn="l">
              <a:defRPr sz="1027" b="0" i="0">
                <a:latin typeface="Whitney Medium"/>
                <a:cs typeface="Whitney Medium"/>
              </a:defRPr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КОНВЕРСИЯ ОНЛАЙН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457200" y="553448"/>
            <a:ext cx="3820294" cy="658749"/>
          </a:xfrm>
        </p:spPr>
        <p:txBody>
          <a:bodyPr anchor="t">
            <a:normAutofit/>
          </a:bodyPr>
          <a:lstStyle>
            <a:lvl1pPr algn="l">
              <a:defRPr sz="1540">
                <a:solidFill>
                  <a:srgbClr val="466CB3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7" name="Содержимое 5"/>
          <p:cNvSpPr>
            <a:spLocks noGrp="1"/>
          </p:cNvSpPr>
          <p:nvPr>
            <p:ph idx="16"/>
          </p:nvPr>
        </p:nvSpPr>
        <p:spPr>
          <a:xfrm>
            <a:off x="2056954" y="3677130"/>
            <a:ext cx="6721342" cy="607951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369">
                <a:solidFill>
                  <a:srgbClr val="466CB3"/>
                </a:solidFill>
              </a:defRPr>
            </a:lvl1pPr>
          </a:lstStyle>
          <a:p>
            <a:r>
              <a:rPr lang="ru-RU" dirty="0" smtClean="0"/>
              <a:t>Название первого пункта</a:t>
            </a:r>
          </a:p>
          <a:p>
            <a:r>
              <a:rPr lang="ru-RU" dirty="0" smtClean="0"/>
              <a:t>может быть в две строки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half" idx="25"/>
          </p:nvPr>
        </p:nvSpPr>
        <p:spPr>
          <a:xfrm>
            <a:off x="2056954" y="4285081"/>
            <a:ext cx="6721342" cy="642464"/>
          </a:xfrm>
        </p:spPr>
        <p:txBody>
          <a:bodyPr>
            <a:normAutofit/>
          </a:bodyPr>
          <a:lstStyle>
            <a:lvl1pPr marL="0" indent="0">
              <a:buNone/>
              <a:defRPr sz="1198"/>
            </a:lvl1pPr>
          </a:lstStyle>
          <a:p>
            <a:r>
              <a:rPr lang="ru-RU" dirty="0" smtClean="0"/>
              <a:t>Основной текст</a:t>
            </a:r>
            <a:endParaRPr lang="ru-RU" dirty="0"/>
          </a:p>
        </p:txBody>
      </p:sp>
      <p:sp>
        <p:nvSpPr>
          <p:cNvPr id="21" name="Содержимое 5"/>
          <p:cNvSpPr>
            <a:spLocks noGrp="1"/>
          </p:cNvSpPr>
          <p:nvPr>
            <p:ph idx="26"/>
          </p:nvPr>
        </p:nvSpPr>
        <p:spPr>
          <a:xfrm>
            <a:off x="2056954" y="1852808"/>
            <a:ext cx="6721342" cy="607951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369">
                <a:solidFill>
                  <a:srgbClr val="466CB3"/>
                </a:solidFill>
              </a:defRPr>
            </a:lvl1pPr>
          </a:lstStyle>
          <a:p>
            <a:r>
              <a:rPr lang="ru-RU" dirty="0" smtClean="0"/>
              <a:t>Название первого пункта</a:t>
            </a:r>
          </a:p>
          <a:p>
            <a:r>
              <a:rPr lang="ru-RU" dirty="0" smtClean="0"/>
              <a:t>может быть в две строки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half" idx="27"/>
          </p:nvPr>
        </p:nvSpPr>
        <p:spPr>
          <a:xfrm>
            <a:off x="2056954" y="2460759"/>
            <a:ext cx="6721342" cy="642464"/>
          </a:xfrm>
        </p:spPr>
        <p:txBody>
          <a:bodyPr>
            <a:normAutofit/>
          </a:bodyPr>
          <a:lstStyle>
            <a:lvl1pPr marL="0" indent="0">
              <a:buNone/>
              <a:defRPr sz="1198"/>
            </a:lvl1pPr>
          </a:lstStyle>
          <a:p>
            <a:r>
              <a:rPr lang="ru-RU" dirty="0" smtClean="0"/>
              <a:t>Основной 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34321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нач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Изображение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5071"/>
          <a:stretch/>
        </p:blipFill>
        <p:spPr>
          <a:xfrm>
            <a:off x="477052" y="6112285"/>
            <a:ext cx="238989" cy="229740"/>
          </a:xfrm>
          <a:prstGeom prst="rect">
            <a:avLst/>
          </a:prstGeom>
        </p:spPr>
      </p:pic>
      <p:sp>
        <p:nvSpPr>
          <p:cNvPr id="22" name="Рисунок 2"/>
          <p:cNvSpPr>
            <a:spLocks noGrp="1"/>
          </p:cNvSpPr>
          <p:nvPr>
            <p:ph type="pic" idx="14"/>
          </p:nvPr>
        </p:nvSpPr>
        <p:spPr>
          <a:xfrm>
            <a:off x="1222002" y="3677130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/>
          </a:p>
        </p:txBody>
      </p:sp>
      <p:sp>
        <p:nvSpPr>
          <p:cNvPr id="23" name="Рисунок 2"/>
          <p:cNvSpPr>
            <a:spLocks noGrp="1"/>
          </p:cNvSpPr>
          <p:nvPr>
            <p:ph type="pic" idx="15"/>
          </p:nvPr>
        </p:nvSpPr>
        <p:spPr>
          <a:xfrm>
            <a:off x="1222002" y="1871639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 dirty="0"/>
          </a:p>
        </p:txBody>
      </p:sp>
      <p:sp>
        <p:nvSpPr>
          <p:cNvPr id="2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034276"/>
            <a:ext cx="2133600" cy="365125"/>
          </a:xfrm>
        </p:spPr>
        <p:txBody>
          <a:bodyPr/>
          <a:lstStyle>
            <a:lvl1pPr>
              <a:defRPr sz="1711" b="0" i="0">
                <a:latin typeface="Whitney Book"/>
                <a:cs typeface="Whitney Book"/>
              </a:defRPr>
            </a:lvl1pPr>
          </a:lstStyle>
          <a:p>
            <a:fld id="{5409BC02-EF9C-2045-9FAB-AA372030877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>
          <a:xfrm>
            <a:off x="848962" y="6034276"/>
            <a:ext cx="949570" cy="365125"/>
          </a:xfrm>
        </p:spPr>
        <p:txBody>
          <a:bodyPr/>
          <a:lstStyle>
            <a:lvl1pPr>
              <a:defRPr sz="1027" b="0" i="0">
                <a:latin typeface="Whitney Light"/>
                <a:cs typeface="Whitney Light"/>
              </a:defRPr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5 Май 2014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798532" y="6034276"/>
            <a:ext cx="2895600" cy="365125"/>
          </a:xfrm>
        </p:spPr>
        <p:txBody>
          <a:bodyPr/>
          <a:lstStyle>
            <a:lvl1pPr algn="l">
              <a:defRPr sz="1027" b="0" i="0">
                <a:latin typeface="Whitney Medium"/>
                <a:cs typeface="Whitney Medium"/>
              </a:defRPr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КОНВЕРСИЯ ОНЛАЙН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457200" y="553448"/>
            <a:ext cx="3820294" cy="658749"/>
          </a:xfrm>
        </p:spPr>
        <p:txBody>
          <a:bodyPr anchor="t">
            <a:normAutofit/>
          </a:bodyPr>
          <a:lstStyle>
            <a:lvl1pPr algn="l">
              <a:defRPr sz="1540">
                <a:solidFill>
                  <a:srgbClr val="466CB3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7" name="Содержимое 5"/>
          <p:cNvSpPr>
            <a:spLocks noGrp="1"/>
          </p:cNvSpPr>
          <p:nvPr>
            <p:ph idx="16"/>
          </p:nvPr>
        </p:nvSpPr>
        <p:spPr>
          <a:xfrm>
            <a:off x="2056954" y="3677130"/>
            <a:ext cx="6721342" cy="607951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369">
                <a:solidFill>
                  <a:srgbClr val="466CB3"/>
                </a:solidFill>
              </a:defRPr>
            </a:lvl1pPr>
          </a:lstStyle>
          <a:p>
            <a:r>
              <a:rPr lang="ru-RU" dirty="0" smtClean="0"/>
              <a:t>Название первого пункта</a:t>
            </a:r>
          </a:p>
          <a:p>
            <a:r>
              <a:rPr lang="ru-RU" dirty="0" smtClean="0"/>
              <a:t>может быть в две строки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half" idx="25"/>
          </p:nvPr>
        </p:nvSpPr>
        <p:spPr>
          <a:xfrm>
            <a:off x="2056954" y="4285081"/>
            <a:ext cx="6721342" cy="642464"/>
          </a:xfrm>
        </p:spPr>
        <p:txBody>
          <a:bodyPr>
            <a:normAutofit/>
          </a:bodyPr>
          <a:lstStyle>
            <a:lvl1pPr marL="0" indent="0">
              <a:buNone/>
              <a:defRPr sz="1198"/>
            </a:lvl1pPr>
          </a:lstStyle>
          <a:p>
            <a:r>
              <a:rPr lang="ru-RU" dirty="0" smtClean="0"/>
              <a:t>Основной текст</a:t>
            </a:r>
            <a:endParaRPr lang="ru-RU" dirty="0"/>
          </a:p>
        </p:txBody>
      </p:sp>
      <p:sp>
        <p:nvSpPr>
          <p:cNvPr id="21" name="Содержимое 5"/>
          <p:cNvSpPr>
            <a:spLocks noGrp="1"/>
          </p:cNvSpPr>
          <p:nvPr>
            <p:ph idx="26"/>
          </p:nvPr>
        </p:nvSpPr>
        <p:spPr>
          <a:xfrm>
            <a:off x="2056954" y="1852808"/>
            <a:ext cx="6721342" cy="607951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369">
                <a:solidFill>
                  <a:srgbClr val="466CB3"/>
                </a:solidFill>
              </a:defRPr>
            </a:lvl1pPr>
          </a:lstStyle>
          <a:p>
            <a:r>
              <a:rPr lang="ru-RU" dirty="0" smtClean="0"/>
              <a:t>Название первого пункта</a:t>
            </a:r>
          </a:p>
          <a:p>
            <a:r>
              <a:rPr lang="ru-RU" dirty="0" smtClean="0"/>
              <a:t>может быть в две строки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half" idx="27"/>
          </p:nvPr>
        </p:nvSpPr>
        <p:spPr>
          <a:xfrm>
            <a:off x="2056954" y="2460759"/>
            <a:ext cx="6721342" cy="642464"/>
          </a:xfrm>
        </p:spPr>
        <p:txBody>
          <a:bodyPr>
            <a:normAutofit/>
          </a:bodyPr>
          <a:lstStyle>
            <a:lvl1pPr marL="0" indent="0">
              <a:buNone/>
              <a:defRPr sz="1198"/>
            </a:lvl1pPr>
          </a:lstStyle>
          <a:p>
            <a:r>
              <a:rPr lang="ru-RU" dirty="0" smtClean="0"/>
              <a:t>Основной 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513805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нач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1" descr="ПЛ.w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19" y="6110630"/>
            <a:ext cx="215585" cy="228516"/>
          </a:xfrm>
          <a:prstGeom prst="rect">
            <a:avLst/>
          </a:prstGeom>
        </p:spPr>
      </p:pic>
      <p:sp>
        <p:nvSpPr>
          <p:cNvPr id="22" name="Рисунок 2"/>
          <p:cNvSpPr>
            <a:spLocks noGrp="1"/>
          </p:cNvSpPr>
          <p:nvPr>
            <p:ph type="pic" idx="14"/>
          </p:nvPr>
        </p:nvSpPr>
        <p:spPr>
          <a:xfrm>
            <a:off x="1222002" y="3677130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/>
          </a:p>
        </p:txBody>
      </p:sp>
      <p:sp>
        <p:nvSpPr>
          <p:cNvPr id="23" name="Рисунок 2"/>
          <p:cNvSpPr>
            <a:spLocks noGrp="1"/>
          </p:cNvSpPr>
          <p:nvPr>
            <p:ph type="pic" idx="15"/>
          </p:nvPr>
        </p:nvSpPr>
        <p:spPr>
          <a:xfrm>
            <a:off x="1222002" y="1871639"/>
            <a:ext cx="576530" cy="696747"/>
          </a:xfrm>
        </p:spPr>
        <p:txBody>
          <a:bodyPr>
            <a:normAutofit/>
          </a:bodyPr>
          <a:lstStyle>
            <a:lvl1pPr marL="0" indent="0">
              <a:buNone/>
              <a:defRPr sz="770">
                <a:latin typeface="Arial"/>
                <a:cs typeface="Arial"/>
              </a:defRPr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endParaRPr lang="ru-RU" dirty="0"/>
          </a:p>
        </p:txBody>
      </p:sp>
      <p:sp>
        <p:nvSpPr>
          <p:cNvPr id="2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034276"/>
            <a:ext cx="213360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Номер слайд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>
          <a:xfrm>
            <a:off x="848962" y="6034276"/>
            <a:ext cx="94957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Дата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798532" y="6034276"/>
            <a:ext cx="2895600" cy="365125"/>
          </a:xfrm>
        </p:spPr>
        <p:txBody>
          <a:bodyPr/>
          <a:lstStyle>
            <a:lvl1pPr algn="l">
              <a:defRPr>
                <a:latin typeface="Arial"/>
                <a:cs typeface="Arial"/>
              </a:defRPr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Название презентации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457200" y="553448"/>
            <a:ext cx="3820294" cy="658749"/>
          </a:xfrm>
        </p:spPr>
        <p:txBody>
          <a:bodyPr anchor="t">
            <a:normAutofit/>
          </a:bodyPr>
          <a:lstStyle>
            <a:lvl1pPr algn="l">
              <a:defRPr sz="1540">
                <a:solidFill>
                  <a:srgbClr val="466CB3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7" name="Содержимое 5"/>
          <p:cNvSpPr>
            <a:spLocks noGrp="1"/>
          </p:cNvSpPr>
          <p:nvPr>
            <p:ph idx="16"/>
          </p:nvPr>
        </p:nvSpPr>
        <p:spPr>
          <a:xfrm>
            <a:off x="2056954" y="3677130"/>
            <a:ext cx="6721342" cy="607951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369">
                <a:solidFill>
                  <a:srgbClr val="466CB3"/>
                </a:solidFill>
              </a:defRPr>
            </a:lvl1pPr>
          </a:lstStyle>
          <a:p>
            <a:r>
              <a:rPr lang="ru-RU" dirty="0" smtClean="0"/>
              <a:t>Название первого пункта</a:t>
            </a:r>
          </a:p>
          <a:p>
            <a:r>
              <a:rPr lang="ru-RU" dirty="0" smtClean="0"/>
              <a:t>может быть в две строки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half" idx="25"/>
          </p:nvPr>
        </p:nvSpPr>
        <p:spPr>
          <a:xfrm>
            <a:off x="2056954" y="4285081"/>
            <a:ext cx="6721342" cy="642464"/>
          </a:xfrm>
        </p:spPr>
        <p:txBody>
          <a:bodyPr>
            <a:normAutofit/>
          </a:bodyPr>
          <a:lstStyle>
            <a:lvl1pPr marL="0" indent="0">
              <a:buNone/>
              <a:defRPr sz="1198"/>
            </a:lvl1pPr>
          </a:lstStyle>
          <a:p>
            <a:r>
              <a:rPr lang="ru-RU" dirty="0" smtClean="0"/>
              <a:t>Основной текст</a:t>
            </a:r>
            <a:endParaRPr lang="ru-RU" dirty="0"/>
          </a:p>
        </p:txBody>
      </p:sp>
      <p:sp>
        <p:nvSpPr>
          <p:cNvPr id="21" name="Содержимое 5"/>
          <p:cNvSpPr>
            <a:spLocks noGrp="1"/>
          </p:cNvSpPr>
          <p:nvPr>
            <p:ph idx="26"/>
          </p:nvPr>
        </p:nvSpPr>
        <p:spPr>
          <a:xfrm>
            <a:off x="2056954" y="1852808"/>
            <a:ext cx="6721342" cy="607951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369">
                <a:solidFill>
                  <a:srgbClr val="466CB3"/>
                </a:solidFill>
              </a:defRPr>
            </a:lvl1pPr>
          </a:lstStyle>
          <a:p>
            <a:r>
              <a:rPr lang="ru-RU" dirty="0" smtClean="0"/>
              <a:t>Название первого пункта</a:t>
            </a:r>
          </a:p>
          <a:p>
            <a:r>
              <a:rPr lang="ru-RU" dirty="0" smtClean="0"/>
              <a:t>может быть в две строки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half" idx="27"/>
          </p:nvPr>
        </p:nvSpPr>
        <p:spPr>
          <a:xfrm>
            <a:off x="2056954" y="2460759"/>
            <a:ext cx="6721342" cy="642464"/>
          </a:xfrm>
        </p:spPr>
        <p:txBody>
          <a:bodyPr>
            <a:normAutofit/>
          </a:bodyPr>
          <a:lstStyle>
            <a:lvl1pPr marL="0" indent="0">
              <a:buNone/>
              <a:defRPr sz="1198"/>
            </a:lvl1pPr>
          </a:lstStyle>
          <a:p>
            <a:r>
              <a:rPr lang="ru-RU" dirty="0" smtClean="0"/>
              <a:t>Основной 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629341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3070798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241191" y="4019789"/>
            <a:ext cx="3797409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4299878"/>
            <a:ext cx="3800856" cy="2492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4544006" y="1617482"/>
            <a:ext cx="4599994" cy="3020036"/>
            <a:chOff x="4544006" y="1617482"/>
            <a:chExt cx="4599994" cy="3020036"/>
          </a:xfrm>
        </p:grpSpPr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3187828"/>
              <a:ext cx="1689414" cy="549060"/>
            </a:xfrm>
            <a:prstGeom prst="rect">
              <a:avLst/>
            </a:prstGeom>
          </p:spPr>
        </p:pic>
        <p:grpSp>
          <p:nvGrpSpPr>
            <p:cNvPr id="23" name="Group 22"/>
            <p:cNvGrpSpPr/>
            <p:nvPr userDrawn="1"/>
          </p:nvGrpSpPr>
          <p:grpSpPr>
            <a:xfrm>
              <a:off x="6884010" y="2674775"/>
              <a:ext cx="2259987" cy="454637"/>
              <a:chOff x="9687151" y="3306297"/>
              <a:chExt cx="1711639" cy="454637"/>
            </a:xfrm>
          </p:grpSpPr>
          <p:sp>
            <p:nvSpPr>
              <p:cNvPr id="31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eaLnBrk="0" hangingPunct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2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pPr eaLnBrk="0" hangingPunct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3" name="Rectangle 32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eaLnBrk="0" hangingPunct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24" name="Group 23"/>
            <p:cNvGrpSpPr/>
            <p:nvPr userDrawn="1"/>
          </p:nvGrpSpPr>
          <p:grpSpPr>
            <a:xfrm>
              <a:off x="5584850" y="1617482"/>
              <a:ext cx="2550327" cy="451865"/>
              <a:chOff x="7916736" y="-1399562"/>
              <a:chExt cx="2550327" cy="451865"/>
            </a:xfrm>
          </p:grpSpPr>
          <p:sp>
            <p:nvSpPr>
              <p:cNvPr id="28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eaLnBrk="0" hangingPunct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29" name="Rectangle 28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eaLnBrk="0" hangingPunct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30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eaLnBrk="0" hangingPunct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25" name="Rectangle 21"/>
            <p:cNvSpPr>
              <a:spLocks noChangeArrowheads="1"/>
            </p:cNvSpPr>
            <p:nvPr userDrawn="1"/>
          </p:nvSpPr>
          <p:spPr bwMode="gray">
            <a:xfrm>
              <a:off x="5113112" y="4336890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eaLnBrk="0" hangingPunct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6" name="Rectangle 21"/>
            <p:cNvSpPr>
              <a:spLocks noChangeArrowheads="1"/>
            </p:cNvSpPr>
            <p:nvPr userDrawn="1"/>
          </p:nvSpPr>
          <p:spPr bwMode="gray">
            <a:xfrm>
              <a:off x="7349540" y="3431471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eaLnBrk="0" hangingPunct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7" name="Rectangle 21"/>
            <p:cNvSpPr>
              <a:spLocks noChangeArrowheads="1"/>
            </p:cNvSpPr>
            <p:nvPr userDrawn="1"/>
          </p:nvSpPr>
          <p:spPr bwMode="gray">
            <a:xfrm>
              <a:off x="8250415" y="4034176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eaLnBrk="0" hangingPunct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374778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B6ADAF-9BD7-4CFC-83F4-2FF4B93C39E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245827"/>
            <a:ext cx="4020748" cy="732508"/>
          </a:xfrm>
        </p:spPr>
        <p:txBody>
          <a:bodyPr wrap="square">
            <a:sp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419600" y="2105904"/>
            <a:ext cx="4729886" cy="2664039"/>
            <a:chOff x="4419600" y="2105904"/>
            <a:chExt cx="4729886" cy="2664039"/>
          </a:xfrm>
        </p:grpSpPr>
        <p:sp>
          <p:nvSpPr>
            <p:cNvPr id="4" name="Rectangle 21"/>
            <p:cNvSpPr>
              <a:spLocks noChangeArrowheads="1"/>
            </p:cNvSpPr>
            <p:nvPr userDrawn="1"/>
          </p:nvSpPr>
          <p:spPr bwMode="auto">
            <a:xfrm>
              <a:off x="4419600" y="3219928"/>
              <a:ext cx="2094330" cy="442130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eaLnBrk="0" hangingPunct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" name="Rectangle 21"/>
            <p:cNvSpPr>
              <a:spLocks noChangeArrowheads="1"/>
            </p:cNvSpPr>
            <p:nvPr userDrawn="1"/>
          </p:nvSpPr>
          <p:spPr bwMode="auto">
            <a:xfrm>
              <a:off x="6172200" y="2105904"/>
              <a:ext cx="2547518" cy="442130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eaLnBrk="0" hangingPunct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6" name="Rectangle 5"/>
            <p:cNvSpPr/>
            <p:nvPr userDrawn="1"/>
          </p:nvSpPr>
          <p:spPr bwMode="gray">
            <a:xfrm>
              <a:off x="7871155" y="2333678"/>
              <a:ext cx="1278331" cy="442130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eaLnBrk="0" hangingPunct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7" name="Rectangle 21"/>
            <p:cNvSpPr>
              <a:spLocks noChangeArrowheads="1"/>
            </p:cNvSpPr>
            <p:nvPr userDrawn="1"/>
          </p:nvSpPr>
          <p:spPr bwMode="auto">
            <a:xfrm>
              <a:off x="7871155" y="2333679"/>
              <a:ext cx="848563" cy="214356"/>
            </a:xfrm>
            <a:prstGeom prst="rect">
              <a:avLst/>
            </a:prstGeom>
            <a:gradFill flip="none" rotWithShape="1">
              <a:gsLst>
                <a:gs pos="0">
                  <a:srgbClr val="F26800"/>
                </a:gs>
                <a:gs pos="100000">
                  <a:srgbClr val="FA9800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eaLnBrk="0" hangingPunct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8" name="Rectangle 7"/>
            <p:cNvSpPr>
              <a:spLocks noChangeArrowheads="1"/>
            </p:cNvSpPr>
            <p:nvPr userDrawn="1"/>
          </p:nvSpPr>
          <p:spPr bwMode="auto">
            <a:xfrm>
              <a:off x="5326076" y="4327813"/>
              <a:ext cx="2547518" cy="442130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eaLnBrk="0" hangingPunct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9" name="Rectangle 8"/>
            <p:cNvSpPr/>
            <p:nvPr userDrawn="1"/>
          </p:nvSpPr>
          <p:spPr bwMode="gray">
            <a:xfrm>
              <a:off x="6882385" y="4106747"/>
              <a:ext cx="1837333" cy="442130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eaLnBrk="0" hangingPunct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10" name="Rectangle 21"/>
            <p:cNvSpPr>
              <a:spLocks noChangeArrowheads="1"/>
            </p:cNvSpPr>
            <p:nvPr userDrawn="1"/>
          </p:nvSpPr>
          <p:spPr bwMode="auto">
            <a:xfrm>
              <a:off x="6882385" y="4334522"/>
              <a:ext cx="991209" cy="214356"/>
            </a:xfrm>
            <a:prstGeom prst="rect">
              <a:avLst/>
            </a:prstGeom>
            <a:gradFill flip="none" rotWithShape="1">
              <a:gsLst>
                <a:gs pos="0">
                  <a:srgbClr val="F26800"/>
                </a:gs>
                <a:gs pos="100000">
                  <a:srgbClr val="FA9800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eaLnBrk="0" hangingPunct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  <p:sp>
        <p:nvSpPr>
          <p:cNvPr id="11" name="Content Placeholder 4"/>
          <p:cNvSpPr>
            <a:spLocks noGrp="1"/>
          </p:cNvSpPr>
          <p:nvPr>
            <p:ph sz="quarter" idx="10"/>
          </p:nvPr>
        </p:nvSpPr>
        <p:spPr>
          <a:xfrm>
            <a:off x="237744" y="1188720"/>
            <a:ext cx="4020747" cy="767390"/>
          </a:xfrm>
        </p:spPr>
        <p:txBody>
          <a:bodyPr/>
          <a:lstStyle>
            <a:lvl4pPr marL="674624" indent="0">
              <a:buNone/>
              <a:defRPr/>
            </a:lvl4pPr>
            <a:lvl5pPr marL="885825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32989609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Pho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7011" y="463636"/>
            <a:ext cx="6217920" cy="919227"/>
          </a:xfrm>
          <a:effectLst/>
        </p:spPr>
        <p:txBody>
          <a:bodyPr wrap="square" anchor="b">
            <a:noAutofit/>
          </a:bodyPr>
          <a:lstStyle>
            <a:lvl1pPr algn="r"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7011" y="1576078"/>
            <a:ext cx="6217920" cy="249299"/>
          </a:xfrm>
          <a:effectLst/>
        </p:spPr>
        <p:txBody>
          <a:bodyPr wrap="square">
            <a:spAutoFit/>
          </a:bodyPr>
          <a:lstStyle>
            <a:lvl1pPr marL="0" indent="0" algn="r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7011" y="1856174"/>
            <a:ext cx="6217920" cy="249299"/>
          </a:xfrm>
        </p:spPr>
        <p:txBody>
          <a:bodyPr>
            <a:sp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3134463"/>
            <a:ext cx="1789530" cy="58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71317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Large Pho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1363" y="5397829"/>
            <a:ext cx="6227064" cy="261610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1363" y="5810082"/>
            <a:ext cx="6227064" cy="193899"/>
          </a:xfrm>
          <a:effectLst/>
        </p:spPr>
        <p:txBody>
          <a:bodyPr wrap="square">
            <a:spAutoFit/>
          </a:bodyPr>
          <a:lstStyle>
            <a:lvl1pPr marL="0" indent="0" algn="l">
              <a:spcBef>
                <a:spcPts val="1200"/>
              </a:spcBef>
              <a:spcAft>
                <a:spcPts val="0"/>
              </a:spcAft>
              <a:buFont typeface="Arial" charset="0"/>
              <a:buNone/>
              <a:defRPr sz="14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1363" y="6016690"/>
            <a:ext cx="6227064" cy="193899"/>
          </a:xfrm>
        </p:spPr>
        <p:txBody>
          <a:bodyPr/>
          <a:lstStyle>
            <a:lvl1pPr marL="0" indent="0" algn="l">
              <a:spcBef>
                <a:spcPts val="1200"/>
              </a:spcBef>
              <a:buNone/>
              <a:defRPr sz="14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5771630"/>
            <a:ext cx="1789530" cy="58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82163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Special Quot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2" y="3349135"/>
            <a:ext cx="6007208" cy="443199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00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5771630"/>
            <a:ext cx="1789530" cy="58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10254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06540291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680817"/>
            <a:ext cx="86868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7743" y="245827"/>
            <a:ext cx="8686800" cy="366254"/>
          </a:xfrm>
        </p:spPr>
        <p:txBody>
          <a:bodyPr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91468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37743" y="245827"/>
            <a:ext cx="8686800" cy="366254"/>
          </a:xfrm>
        </p:spPr>
        <p:txBody>
          <a:bodyPr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237226" y="1188720"/>
            <a:ext cx="8686800" cy="850489"/>
          </a:xfr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206367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245827"/>
            <a:ext cx="868680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680817"/>
            <a:ext cx="86868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2"/>
          </p:nvPr>
        </p:nvSpPr>
        <p:spPr>
          <a:xfrm>
            <a:off x="237226" y="1188720"/>
            <a:ext cx="8686800" cy="850489"/>
          </a:xfr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0947092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6"/>
          <p:cNvSpPr>
            <a:spLocks noGrp="1"/>
          </p:cNvSpPr>
          <p:nvPr>
            <p:ph sz="quarter" idx="12"/>
          </p:nvPr>
        </p:nvSpPr>
        <p:spPr>
          <a:xfrm>
            <a:off x="237226" y="1528088"/>
            <a:ext cx="8686800" cy="85048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245827"/>
            <a:ext cx="8686800" cy="366254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038753"/>
            <a:ext cx="868680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78387858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Title, Subhead, Bullet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6"/>
          <p:cNvSpPr>
            <a:spLocks noGrp="1"/>
          </p:cNvSpPr>
          <p:nvPr>
            <p:ph sz="quarter" idx="12"/>
          </p:nvPr>
        </p:nvSpPr>
        <p:spPr>
          <a:xfrm>
            <a:off x="2855343" y="1528088"/>
            <a:ext cx="6035040" cy="85048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2855343" y="1038753"/>
            <a:ext cx="6035040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black">
          <a:xfrm>
            <a:off x="560256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black">
          <a:xfrm>
            <a:off x="3036415" y="6616703"/>
            <a:ext cx="154529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</a:t>
            </a:r>
            <a:r>
              <a:rPr lang="ru-RU" sz="700" dirty="0" smtClean="0">
                <a:solidFill>
                  <a:srgbClr val="5C5C5C"/>
                </a:solidFill>
              </a:rPr>
              <a:t>Коммерческие решения </a:t>
            </a:r>
            <a:r>
              <a:rPr lang="en-US" sz="700" dirty="0" smtClean="0">
                <a:solidFill>
                  <a:srgbClr val="5C5C5C"/>
                </a:solidFill>
              </a:rPr>
              <a:t>Visa |  </a:t>
            </a:r>
            <a:r>
              <a:rPr lang="ru-RU" sz="700" dirty="0" smtClean="0">
                <a:solidFill>
                  <a:srgbClr val="5C5C5C"/>
                </a:solidFill>
              </a:rPr>
              <a:t>2015</a:t>
            </a:r>
            <a:endParaRPr lang="en-US" sz="700" dirty="0">
              <a:solidFill>
                <a:srgbClr val="5C5C5C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883066" y="6616703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eaLnBrk="0" hangingPunct="0"/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 eaLnBrk="0" hangingPunct="0"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 bwMode="gray">
          <a:xfrm>
            <a:off x="2855343" y="245827"/>
            <a:ext cx="6035040" cy="366254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6521978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19231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FE4B52-7EB5-449F-989E-1A295D0E931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241192" y="1038753"/>
            <a:ext cx="4170872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245827"/>
            <a:ext cx="8641080" cy="36625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4707951" y="1038753"/>
            <a:ext cx="4170872" cy="276999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6" name="Content Placeholder 6"/>
          <p:cNvSpPr>
            <a:spLocks noGrp="1"/>
          </p:cNvSpPr>
          <p:nvPr>
            <p:ph sz="quarter" idx="12"/>
          </p:nvPr>
        </p:nvSpPr>
        <p:spPr>
          <a:xfrm>
            <a:off x="237226" y="1528088"/>
            <a:ext cx="4169664" cy="85048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7" name="Content Placeholder 6"/>
          <p:cNvSpPr>
            <a:spLocks noGrp="1"/>
          </p:cNvSpPr>
          <p:nvPr>
            <p:ph sz="quarter" idx="16"/>
          </p:nvPr>
        </p:nvSpPr>
        <p:spPr>
          <a:xfrm>
            <a:off x="4707951" y="1528088"/>
            <a:ext cx="4169664" cy="85048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0745354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6"/>
          <p:cNvSpPr>
            <a:spLocks noGrp="1"/>
          </p:cNvSpPr>
          <p:nvPr>
            <p:ph sz="quarter" idx="14"/>
          </p:nvPr>
        </p:nvSpPr>
        <p:spPr>
          <a:xfrm>
            <a:off x="237226" y="1188720"/>
            <a:ext cx="4169664" cy="85048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6"/>
          </p:nvPr>
        </p:nvSpPr>
        <p:spPr>
          <a:xfrm>
            <a:off x="4707951" y="1188720"/>
            <a:ext cx="4169664" cy="85048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245827"/>
            <a:ext cx="8641080" cy="36625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32045042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4690872" y="3013472"/>
            <a:ext cx="4343400" cy="837152"/>
          </a:xfrm>
          <a:effectLst/>
        </p:spPr>
        <p:txBody>
          <a:bodyPr anchor="ctr" anchorCtr="0"/>
          <a:lstStyle>
            <a:lvl1pPr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gray">
          <a:xfrm>
            <a:off x="4835680" y="6616703"/>
            <a:ext cx="251132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</a:t>
            </a:r>
            <a:r>
              <a:rPr lang="ru-RU" sz="700" dirty="0" smtClean="0">
                <a:solidFill>
                  <a:srgbClr val="5C5C5C"/>
                </a:solidFill>
              </a:rPr>
              <a:t>Коммерческие решения </a:t>
            </a:r>
            <a:r>
              <a:rPr lang="en-US" sz="700" dirty="0" smtClean="0">
                <a:solidFill>
                  <a:srgbClr val="5C5C5C"/>
                </a:solidFill>
              </a:rPr>
              <a:t>Visa |  </a:t>
            </a:r>
            <a:r>
              <a:rPr lang="ru-RU" sz="700" dirty="0" smtClean="0">
                <a:solidFill>
                  <a:srgbClr val="5C5C5C"/>
                </a:solidFill>
              </a:rPr>
              <a:t>2015</a:t>
            </a:r>
            <a:endParaRPr lang="en-US" sz="700" dirty="0">
              <a:solidFill>
                <a:srgbClr val="5C5C5C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4367619" y="6616703"/>
            <a:ext cx="399143" cy="10772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eaLnBrk="0" hangingPunct="0"/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 algn="r" eaLnBrk="0" hangingPunct="0"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gray">
          <a:xfrm>
            <a:off x="7162800" y="6616703"/>
            <a:ext cx="914400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6521978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44679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3080187"/>
            <a:ext cx="8686800" cy="697627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6616703"/>
            <a:ext cx="154529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</a:t>
            </a:r>
            <a:r>
              <a:rPr lang="ru-RU" sz="700" dirty="0" smtClean="0">
                <a:solidFill>
                  <a:srgbClr val="5C5C5C"/>
                </a:solidFill>
              </a:rPr>
              <a:t>Коммерческие решения </a:t>
            </a:r>
            <a:r>
              <a:rPr lang="en-US" sz="700" dirty="0" smtClean="0">
                <a:solidFill>
                  <a:srgbClr val="5C5C5C"/>
                </a:solidFill>
              </a:rPr>
              <a:t>Visa |  </a:t>
            </a:r>
            <a:r>
              <a:rPr lang="ru-RU" sz="700" dirty="0" smtClean="0">
                <a:solidFill>
                  <a:srgbClr val="5C5C5C"/>
                </a:solidFill>
              </a:rPr>
              <a:t>2015</a:t>
            </a:r>
            <a:endParaRPr lang="en-US" sz="700" dirty="0">
              <a:solidFill>
                <a:srgbClr val="5C5C5C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0850" y="6616703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eaLnBrk="0" hangingPunct="0"/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 eaLnBrk="0" hangingPunct="0"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6521978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9941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3167390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14198" y="6616703"/>
            <a:ext cx="154529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</a:t>
            </a:r>
            <a:r>
              <a:rPr lang="ru-RU" sz="700" dirty="0" smtClean="0">
                <a:solidFill>
                  <a:srgbClr val="5C5C5C"/>
                </a:solidFill>
              </a:rPr>
              <a:t>Коммерческие решения </a:t>
            </a:r>
            <a:r>
              <a:rPr lang="en-US" sz="700" dirty="0" smtClean="0">
                <a:solidFill>
                  <a:srgbClr val="5C5C5C"/>
                </a:solidFill>
              </a:rPr>
              <a:t>Visa |  </a:t>
            </a:r>
            <a:r>
              <a:rPr lang="ru-RU" sz="700" dirty="0" smtClean="0">
                <a:solidFill>
                  <a:srgbClr val="5C5C5C"/>
                </a:solidFill>
              </a:rPr>
              <a:t>2015</a:t>
            </a:r>
            <a:endParaRPr lang="en-US" sz="700" dirty="0">
              <a:solidFill>
                <a:srgbClr val="5C5C5C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60850" y="6616703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eaLnBrk="0" hangingPunct="0"/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 eaLnBrk="0" hangingPunct="0"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6521978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5681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Gradient Quote Slide">
    <p:bg bwMode="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ltGray">
          <a:xfrm>
            <a:off x="0" y="-1"/>
            <a:ext cx="9144000" cy="47244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eaLnBrk="0" hangingPunct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ltGray">
          <a:xfrm>
            <a:off x="228600" y="2123631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6616703"/>
            <a:ext cx="154529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</a:t>
            </a:r>
            <a:r>
              <a:rPr lang="ru-RU" sz="700" dirty="0" smtClean="0">
                <a:solidFill>
                  <a:srgbClr val="5C5C5C"/>
                </a:solidFill>
              </a:rPr>
              <a:t>Коммерческие решения </a:t>
            </a:r>
            <a:r>
              <a:rPr lang="en-US" sz="700" dirty="0" smtClean="0">
                <a:solidFill>
                  <a:srgbClr val="5C5C5C"/>
                </a:solidFill>
              </a:rPr>
              <a:t>Visa |  </a:t>
            </a:r>
            <a:r>
              <a:rPr lang="ru-RU" sz="700" dirty="0" smtClean="0">
                <a:solidFill>
                  <a:srgbClr val="5C5C5C"/>
                </a:solidFill>
              </a:rPr>
              <a:t>2015</a:t>
            </a:r>
            <a:endParaRPr lang="en-US" sz="700" dirty="0">
              <a:solidFill>
                <a:srgbClr val="5C5C5C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6616703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eaLnBrk="0" hangingPunct="0"/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 eaLnBrk="0" hangingPunct="0"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5771630"/>
            <a:ext cx="1789530" cy="58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14546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Gradient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ltGray">
          <a:xfrm>
            <a:off x="0" y="-1"/>
            <a:ext cx="9144000" cy="47244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eaLnBrk="0" hangingPunct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ltGray">
          <a:xfrm>
            <a:off x="228600" y="2119402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6616703"/>
            <a:ext cx="154529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</a:t>
            </a:r>
            <a:r>
              <a:rPr lang="ru-RU" sz="700" dirty="0" smtClean="0">
                <a:solidFill>
                  <a:srgbClr val="5C5C5C"/>
                </a:solidFill>
              </a:rPr>
              <a:t>Коммерческие решения </a:t>
            </a:r>
            <a:r>
              <a:rPr lang="en-US" sz="700" dirty="0" smtClean="0">
                <a:solidFill>
                  <a:srgbClr val="5C5C5C"/>
                </a:solidFill>
              </a:rPr>
              <a:t>Visa |  </a:t>
            </a:r>
            <a:r>
              <a:rPr lang="ru-RU" sz="700" dirty="0" smtClean="0">
                <a:solidFill>
                  <a:srgbClr val="5C5C5C"/>
                </a:solidFill>
              </a:rPr>
              <a:t>2015</a:t>
            </a:r>
            <a:endParaRPr lang="en-US" sz="700" dirty="0">
              <a:solidFill>
                <a:srgbClr val="5C5C5C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6616703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eaLnBrk="0" hangingPunct="0"/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 eaLnBrk="0" hangingPunct="0"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5771630"/>
            <a:ext cx="1789530" cy="58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9180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9147290" cy="68580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eaLnBrk="0" hangingPunct="0"/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3124301"/>
            <a:ext cx="8686800" cy="609398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6616703"/>
            <a:ext cx="154369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</a:t>
            </a:r>
            <a:r>
              <a:rPr lang="ru-RU" sz="700" dirty="0" smtClean="0">
                <a:solidFill>
                  <a:srgbClr val="0065EA"/>
                </a:solidFill>
                <a:latin typeface="Segoe UI"/>
              </a:rPr>
              <a:t>Коммерческие решения </a:t>
            </a:r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</a:t>
            </a:r>
            <a:r>
              <a:rPr lang="ru-RU" sz="700" dirty="0" smtClean="0">
                <a:solidFill>
                  <a:srgbClr val="0065EA"/>
                </a:solidFill>
                <a:latin typeface="Segoe UI"/>
              </a:rPr>
              <a:t> </a:t>
            </a:r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</a:t>
            </a:r>
            <a:r>
              <a:rPr lang="ru-RU" sz="700" dirty="0" smtClean="0">
                <a:solidFill>
                  <a:srgbClr val="0065EA"/>
                </a:solidFill>
                <a:latin typeface="Segoe UI"/>
              </a:rPr>
              <a:t>2015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0850" y="6616703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eaLnBrk="0" hangingPunct="0"/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 eaLnBrk="0" hangingPunct="0"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548"/>
          <a:stretch/>
        </p:blipFill>
        <p:spPr>
          <a:xfrm>
            <a:off x="8300994" y="250521"/>
            <a:ext cx="730712" cy="232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40216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old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 flipV="1"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eaLnBrk="0" hangingPunct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3124301"/>
            <a:ext cx="8705088" cy="609398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6616703"/>
            <a:ext cx="154369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</a:t>
            </a:r>
            <a:r>
              <a:rPr lang="ru-RU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Коммерческие решения </a:t>
            </a:r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|  201</a:t>
            </a:r>
            <a:r>
              <a:rPr lang="ru-RU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5</a:t>
            </a:r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6616703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eaLnBrk="0" hangingPunct="0"/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 eaLnBrk="0" hangingPunct="0"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548"/>
          <a:stretch/>
        </p:blipFill>
        <p:spPr>
          <a:xfrm>
            <a:off x="8300994" y="250521"/>
            <a:ext cx="730712" cy="232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78702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3070798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spcBef>
                <a:spcPts val="600"/>
              </a:spcBef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4006" y="3187828"/>
            <a:ext cx="1689414" cy="549060"/>
          </a:xfrm>
          <a:prstGeom prst="rect">
            <a:avLst/>
          </a:prstGeom>
        </p:spPr>
      </p:pic>
      <p:grpSp>
        <p:nvGrpSpPr>
          <p:cNvPr id="18" name="Group 17"/>
          <p:cNvGrpSpPr/>
          <p:nvPr userDrawn="1"/>
        </p:nvGrpSpPr>
        <p:grpSpPr>
          <a:xfrm>
            <a:off x="6884010" y="2674775"/>
            <a:ext cx="2259987" cy="454637"/>
            <a:chOff x="9687151" y="3306297"/>
            <a:chExt cx="1711639" cy="454637"/>
          </a:xfrm>
        </p:grpSpPr>
        <p:sp>
          <p:nvSpPr>
            <p:cNvPr id="19" name="Rectangle 21"/>
            <p:cNvSpPr>
              <a:spLocks noChangeArrowheads="1"/>
            </p:cNvSpPr>
            <p:nvPr/>
          </p:nvSpPr>
          <p:spPr bwMode="gray">
            <a:xfrm>
              <a:off x="10325876" y="3462208"/>
              <a:ext cx="1072914" cy="298726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eaLnBrk="0" hangingPunct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0" name="Rectangle 21"/>
            <p:cNvSpPr>
              <a:spLocks noChangeArrowheads="1"/>
            </p:cNvSpPr>
            <p:nvPr/>
          </p:nvSpPr>
          <p:spPr bwMode="gray">
            <a:xfrm>
              <a:off x="9687151" y="3306297"/>
              <a:ext cx="1034868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eaLnBrk="0" hangingPunct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gray">
            <a:xfrm>
              <a:off x="10325876" y="3459434"/>
              <a:ext cx="396143" cy="147489"/>
            </a:xfrm>
            <a:prstGeom prst="rect">
              <a:avLst/>
            </a:prstGeom>
            <a:gradFill flip="none" rotWithShape="1">
              <a:gsLst>
                <a:gs pos="0">
                  <a:srgbClr val="F26800"/>
                </a:gs>
                <a:gs pos="100000">
                  <a:srgbClr val="FA9800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eaLnBrk="0" hangingPunct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  <p:grpSp>
        <p:nvGrpSpPr>
          <p:cNvPr id="23" name="Group 22"/>
          <p:cNvGrpSpPr/>
          <p:nvPr userDrawn="1"/>
        </p:nvGrpSpPr>
        <p:grpSpPr>
          <a:xfrm>
            <a:off x="5584850" y="1617482"/>
            <a:ext cx="2550327" cy="451865"/>
            <a:chOff x="7916736" y="-1399562"/>
            <a:chExt cx="2550327" cy="451865"/>
          </a:xfrm>
        </p:grpSpPr>
        <p:sp>
          <p:nvSpPr>
            <p:cNvPr id="24" name="Rectangle 21"/>
            <p:cNvSpPr>
              <a:spLocks noChangeArrowheads="1"/>
            </p:cNvSpPr>
            <p:nvPr/>
          </p:nvSpPr>
          <p:spPr bwMode="gray">
            <a:xfrm>
              <a:off x="8562063" y="-1246423"/>
              <a:ext cx="1905000" cy="298726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eaLnBrk="0" hangingPunct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gray">
            <a:xfrm>
              <a:off x="7916736" y="-1399562"/>
              <a:ext cx="1764690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eaLnBrk="0" hangingPunct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26" name="Rectangle 21"/>
            <p:cNvSpPr>
              <a:spLocks noChangeArrowheads="1"/>
            </p:cNvSpPr>
            <p:nvPr/>
          </p:nvSpPr>
          <p:spPr bwMode="gray">
            <a:xfrm>
              <a:off x="8562063" y="-1246423"/>
              <a:ext cx="1119363" cy="147489"/>
            </a:xfrm>
            <a:prstGeom prst="rect">
              <a:avLst/>
            </a:prstGeom>
            <a:gradFill flip="none" rotWithShape="1">
              <a:gsLst>
                <a:gs pos="0">
                  <a:srgbClr val="FFCB00"/>
                </a:gs>
                <a:gs pos="100000">
                  <a:srgbClr val="FBE1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eaLnBrk="0" hangingPunct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  <p:sp>
        <p:nvSpPr>
          <p:cNvPr id="27" name="Rectangle 21"/>
          <p:cNvSpPr>
            <a:spLocks noChangeArrowheads="1"/>
          </p:cNvSpPr>
          <p:nvPr userDrawn="1"/>
        </p:nvSpPr>
        <p:spPr bwMode="gray">
          <a:xfrm>
            <a:off x="5113112" y="4336890"/>
            <a:ext cx="1770898" cy="300628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eaLnBrk="0" hangingPunct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8" name="Rectangle 21"/>
          <p:cNvSpPr>
            <a:spLocks noChangeArrowheads="1"/>
          </p:cNvSpPr>
          <p:nvPr userDrawn="1"/>
        </p:nvSpPr>
        <p:spPr bwMode="gray">
          <a:xfrm>
            <a:off x="7349540" y="3431471"/>
            <a:ext cx="1475584" cy="300628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eaLnBrk="0" hangingPunct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9" name="Rectangle 21"/>
          <p:cNvSpPr>
            <a:spLocks noChangeArrowheads="1"/>
          </p:cNvSpPr>
          <p:nvPr userDrawn="1"/>
        </p:nvSpPr>
        <p:spPr bwMode="gray">
          <a:xfrm>
            <a:off x="8250415" y="4034176"/>
            <a:ext cx="893585" cy="300628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eaLnBrk="0" hangingPunct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64845241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4EDBA9-1DD3-400B-A5A1-11CF29EE88F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ChangeArrowheads="1"/>
          </p:cNvSpPr>
          <p:nvPr userDrawn="1"/>
        </p:nvSpPr>
        <p:spPr bwMode="black">
          <a:xfrm>
            <a:off x="4237774" y="6616703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81865028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980486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DCA654-5A24-4E90-A849-C0C3FA61581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0C8F9A-4901-4DF6-A7CF-57558D483A8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image" Target="../media/image5.emf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image" Target="../media/image6.jpeg"/><Relationship Id="rId30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7019925" y="6448425"/>
            <a:ext cx="20891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750" b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79388" y="6356350"/>
            <a:ext cx="431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AC78E53C-3BC6-4298-96DF-EF4F847696A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7020272" y="6448251"/>
            <a:ext cx="20882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79512" y="6356350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25B6877-0BEE-43E0-8D78-644D3D8309C3}" type="slidenum">
              <a:rPr lang="ru-RU" smtClean="0">
                <a:solidFill>
                  <a:prstClr val="white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0875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7020272" y="6448251"/>
            <a:ext cx="20882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79512" y="6356350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25B6877-0BEE-43E0-8D78-644D3D8309C3}" type="slidenum">
              <a:rPr lang="ru-RU" smtClean="0">
                <a:solidFill>
                  <a:prstClr val="white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15419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198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/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1" y="6356351"/>
            <a:ext cx="2895600" cy="365125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198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Продукт «Единый остаток»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198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fld id="{7DCF1EA8-601E-944A-8771-CD18B83E524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46089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603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</p:sldLayoutIdLst>
  <p:hf hdr="0" dt="0"/>
  <p:txStyles>
    <p:titleStyle>
      <a:lvl1pPr algn="ctr" defTabSz="446089" rtl="0" eaLnBrk="1" latinLnBrk="0" hangingPunct="1">
        <a:spcBef>
          <a:spcPct val="0"/>
        </a:spcBef>
        <a:buNone/>
        <a:defRPr sz="4278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34566" indent="-334566" algn="l" defTabSz="446089" rtl="0" eaLnBrk="1" latinLnBrk="0" hangingPunct="1">
        <a:spcBef>
          <a:spcPct val="20000"/>
        </a:spcBef>
        <a:buFont typeface="Arial"/>
        <a:buChar char="•"/>
        <a:defRPr sz="3080" kern="1200">
          <a:solidFill>
            <a:schemeClr val="tx1"/>
          </a:solidFill>
          <a:latin typeface="Arial"/>
          <a:ea typeface="+mn-ea"/>
          <a:cs typeface="Arial"/>
        </a:defRPr>
      </a:lvl1pPr>
      <a:lvl2pPr marL="724894" indent="-278806" algn="l" defTabSz="446089" rtl="0" eaLnBrk="1" latinLnBrk="0" hangingPunct="1">
        <a:spcBef>
          <a:spcPct val="20000"/>
        </a:spcBef>
        <a:buFont typeface="Arial"/>
        <a:buChar char="–"/>
        <a:defRPr sz="2738" kern="1200">
          <a:solidFill>
            <a:schemeClr val="tx1"/>
          </a:solidFill>
          <a:latin typeface="Arial"/>
          <a:ea typeface="+mn-ea"/>
          <a:cs typeface="Arial"/>
        </a:defRPr>
      </a:lvl2pPr>
      <a:lvl3pPr marL="1115223" indent="-223044" algn="l" defTabSz="446089" rtl="0" eaLnBrk="1" latinLnBrk="0" hangingPunct="1">
        <a:spcBef>
          <a:spcPct val="20000"/>
        </a:spcBef>
        <a:buFont typeface="Arial"/>
        <a:buChar char="•"/>
        <a:defRPr sz="2310" kern="1200">
          <a:solidFill>
            <a:schemeClr val="tx1"/>
          </a:solidFill>
          <a:latin typeface="Arial"/>
          <a:ea typeface="+mn-ea"/>
          <a:cs typeface="Arial"/>
        </a:defRPr>
      </a:lvl3pPr>
      <a:lvl4pPr marL="1561311" indent="-223044" algn="l" defTabSz="446089" rtl="0" eaLnBrk="1" latinLnBrk="0" hangingPunct="1">
        <a:spcBef>
          <a:spcPct val="20000"/>
        </a:spcBef>
        <a:buFont typeface="Arial"/>
        <a:buChar char="–"/>
        <a:defRPr sz="1968" kern="1200">
          <a:solidFill>
            <a:schemeClr val="tx1"/>
          </a:solidFill>
          <a:latin typeface="Arial"/>
          <a:ea typeface="+mn-ea"/>
          <a:cs typeface="Arial"/>
        </a:defRPr>
      </a:lvl4pPr>
      <a:lvl5pPr marL="2007401" indent="-223044" algn="l" defTabSz="446089" rtl="0" eaLnBrk="1" latinLnBrk="0" hangingPunct="1">
        <a:spcBef>
          <a:spcPct val="20000"/>
        </a:spcBef>
        <a:buFont typeface="Arial"/>
        <a:buChar char="»"/>
        <a:defRPr sz="1968" kern="1200">
          <a:solidFill>
            <a:schemeClr val="tx1"/>
          </a:solidFill>
          <a:latin typeface="Arial"/>
          <a:ea typeface="+mn-ea"/>
          <a:cs typeface="Arial"/>
        </a:defRPr>
      </a:lvl5pPr>
      <a:lvl6pPr marL="2453489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6pPr>
      <a:lvl7pPr marL="2899579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7pPr>
      <a:lvl8pPr marL="3345668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8pPr>
      <a:lvl9pPr marL="3791757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1pPr>
      <a:lvl2pPr marL="446089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2pPr>
      <a:lvl3pPr marL="892178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3pPr>
      <a:lvl4pPr marL="1338267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1784356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230445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676534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122623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568712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198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Дата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1" y="6356351"/>
            <a:ext cx="2895600" cy="365125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198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Название презентации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198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fld id="{7DCF1EA8-601E-944A-8771-CD18B83E524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46089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428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</p:sldLayoutIdLst>
  <p:hf sldNum="0" hdr="0" ftr="0" dt="0"/>
  <p:txStyles>
    <p:titleStyle>
      <a:lvl1pPr algn="ctr" defTabSz="446089" rtl="0" eaLnBrk="1" latinLnBrk="0" hangingPunct="1">
        <a:spcBef>
          <a:spcPct val="0"/>
        </a:spcBef>
        <a:buNone/>
        <a:defRPr sz="4278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34566" indent="-334566" algn="l" defTabSz="446089" rtl="0" eaLnBrk="1" latinLnBrk="0" hangingPunct="1">
        <a:spcBef>
          <a:spcPct val="20000"/>
        </a:spcBef>
        <a:buFont typeface="Arial"/>
        <a:buChar char="•"/>
        <a:defRPr sz="3080" kern="1200">
          <a:solidFill>
            <a:schemeClr val="tx1"/>
          </a:solidFill>
          <a:latin typeface="Arial"/>
          <a:ea typeface="+mn-ea"/>
          <a:cs typeface="Arial"/>
        </a:defRPr>
      </a:lvl1pPr>
      <a:lvl2pPr marL="724894" indent="-278806" algn="l" defTabSz="446089" rtl="0" eaLnBrk="1" latinLnBrk="0" hangingPunct="1">
        <a:spcBef>
          <a:spcPct val="20000"/>
        </a:spcBef>
        <a:buFont typeface="Arial"/>
        <a:buChar char="–"/>
        <a:defRPr sz="2738" kern="1200">
          <a:solidFill>
            <a:schemeClr val="tx1"/>
          </a:solidFill>
          <a:latin typeface="Arial"/>
          <a:ea typeface="+mn-ea"/>
          <a:cs typeface="Arial"/>
        </a:defRPr>
      </a:lvl2pPr>
      <a:lvl3pPr marL="1115223" indent="-223044" algn="l" defTabSz="446089" rtl="0" eaLnBrk="1" latinLnBrk="0" hangingPunct="1">
        <a:spcBef>
          <a:spcPct val="20000"/>
        </a:spcBef>
        <a:buFont typeface="Arial"/>
        <a:buChar char="•"/>
        <a:defRPr sz="2310" kern="1200">
          <a:solidFill>
            <a:schemeClr val="tx1"/>
          </a:solidFill>
          <a:latin typeface="Arial"/>
          <a:ea typeface="+mn-ea"/>
          <a:cs typeface="Arial"/>
        </a:defRPr>
      </a:lvl3pPr>
      <a:lvl4pPr marL="1561311" indent="-223044" algn="l" defTabSz="446089" rtl="0" eaLnBrk="1" latinLnBrk="0" hangingPunct="1">
        <a:spcBef>
          <a:spcPct val="20000"/>
        </a:spcBef>
        <a:buFont typeface="Arial"/>
        <a:buChar char="–"/>
        <a:defRPr sz="1968" kern="1200">
          <a:solidFill>
            <a:schemeClr val="tx1"/>
          </a:solidFill>
          <a:latin typeface="Arial"/>
          <a:ea typeface="+mn-ea"/>
          <a:cs typeface="Arial"/>
        </a:defRPr>
      </a:lvl4pPr>
      <a:lvl5pPr marL="2007401" indent="-223044" algn="l" defTabSz="446089" rtl="0" eaLnBrk="1" latinLnBrk="0" hangingPunct="1">
        <a:spcBef>
          <a:spcPct val="20000"/>
        </a:spcBef>
        <a:buFont typeface="Arial"/>
        <a:buChar char="»"/>
        <a:defRPr sz="1968" kern="1200">
          <a:solidFill>
            <a:schemeClr val="tx1"/>
          </a:solidFill>
          <a:latin typeface="Arial"/>
          <a:ea typeface="+mn-ea"/>
          <a:cs typeface="Arial"/>
        </a:defRPr>
      </a:lvl5pPr>
      <a:lvl6pPr marL="2453489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6pPr>
      <a:lvl7pPr marL="2899579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7pPr>
      <a:lvl8pPr marL="3345668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8pPr>
      <a:lvl9pPr marL="3791757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1pPr>
      <a:lvl2pPr marL="446089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2pPr>
      <a:lvl3pPr marL="892178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3pPr>
      <a:lvl4pPr marL="1338267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1784356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230445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676534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122623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568712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2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6"/>
            </p:custDataLst>
            <p:extLst/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188720"/>
            <a:ext cx="8689064" cy="1396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2" y="245827"/>
            <a:ext cx="8690597" cy="366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black">
          <a:xfrm>
            <a:off x="414198" y="6616703"/>
            <a:ext cx="154369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</a:t>
            </a:r>
            <a:r>
              <a:rPr lang="ru-RU" sz="700" dirty="0" smtClean="0">
                <a:solidFill>
                  <a:srgbClr val="5C5C5C"/>
                </a:solidFill>
                <a:latin typeface="Segoe UI"/>
              </a:rPr>
              <a:t>Коммерческие решения </a:t>
            </a:r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|  </a:t>
            </a:r>
            <a:r>
              <a:rPr lang="ru-RU" sz="700" dirty="0" smtClean="0">
                <a:solidFill>
                  <a:srgbClr val="5C5C5C"/>
                </a:solidFill>
                <a:latin typeface="Segoe UI"/>
              </a:rPr>
              <a:t>2015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0850" y="6616703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eaLnBrk="0" hangingPunct="0"/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 eaLnBrk="0" hangingPunct="0"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6521978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452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  <p:sldLayoutId id="2147483734" r:id="rId21"/>
    <p:sldLayoutId id="2147483735" r:id="rId22"/>
    <p:sldLayoutId id="2147483736" r:id="rId23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0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1800">
          <a:solidFill>
            <a:schemeClr val="bg2"/>
          </a:solidFill>
          <a:latin typeface="+mn-lt"/>
        </a:defRPr>
      </a:lvl2pPr>
      <a:lvl3pPr marL="658368" indent="-1714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1600">
          <a:solidFill>
            <a:schemeClr val="bg2"/>
          </a:solidFill>
          <a:latin typeface="+mn-lt"/>
        </a:defRPr>
      </a:lvl3pPr>
      <a:lvl4pPr marL="877824" indent="-20320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defRPr sz="1600">
          <a:solidFill>
            <a:schemeClr val="bg2"/>
          </a:solidFill>
          <a:latin typeface="+mn-lt"/>
        </a:defRPr>
      </a:lvl4pPr>
      <a:lvl5pPr marL="1028700" indent="-142875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16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0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br.ru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1259632" y="2204865"/>
            <a:ext cx="7416824" cy="2952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/>
            <a:r>
              <a:rPr lang="ru-RU" sz="330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  <a:endParaRPr lang="en-US" sz="330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endParaRPr lang="ru-RU" sz="24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r>
              <a:rPr lang="ru-RU" sz="24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Пресс-конференция</a:t>
            </a:r>
          </a:p>
          <a:p>
            <a:pPr algn="r"/>
            <a:endParaRPr lang="en-US" sz="24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r>
              <a:rPr lang="ru-RU" sz="24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Корпоративные расходы могут быть умными</a:t>
            </a:r>
            <a:endParaRPr lang="ru-RU" sz="2400" b="0" kern="0" dirty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r>
              <a:rPr lang="ru-RU" sz="2800" kern="0" dirty="0">
                <a:solidFill>
                  <a:prstClr val="white"/>
                </a:solidFill>
                <a:cs typeface="Arial" panose="020B0604020202020204" pitchFamily="34" charset="0"/>
              </a:rPr>
              <a:t>«Бизнес </a:t>
            </a:r>
            <a:r>
              <a:rPr lang="ru-RU" sz="2800" kern="0" dirty="0" err="1">
                <a:solidFill>
                  <a:prstClr val="white"/>
                </a:solidFill>
                <a:cs typeface="Arial" panose="020B0604020202020204" pitchFamily="34" charset="0"/>
              </a:rPr>
              <a:t>Card</a:t>
            </a:r>
            <a:r>
              <a:rPr lang="ru-RU" sz="2800" kern="0" dirty="0">
                <a:solidFill>
                  <a:prstClr val="white"/>
                </a:solidFill>
                <a:cs typeface="Arial" panose="020B0604020202020204" pitchFamily="34" charset="0"/>
              </a:rPr>
              <a:t> —уникальное решение для управления корпоративными расходами»</a:t>
            </a:r>
          </a:p>
          <a:p>
            <a:pPr algn="r"/>
            <a:endParaRPr lang="ru-RU" sz="2400" b="0" kern="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499964" y="5013176"/>
            <a:ext cx="4792116" cy="1296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ru-RU" sz="18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r>
              <a:rPr lang="ru-RU" sz="18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11 ноября 2015 г. </a:t>
            </a:r>
          </a:p>
        </p:txBody>
      </p:sp>
    </p:spTree>
    <p:extLst>
      <p:ext uri="{BB962C8B-B14F-4D97-AF65-F5344CB8AC3E}">
        <p14:creationId xmlns:p14="http://schemas.microsoft.com/office/powerpoint/2010/main" val="1074646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345" y="252157"/>
            <a:ext cx="8686800" cy="575542"/>
          </a:xfrm>
        </p:spPr>
        <p:txBody>
          <a:bodyPr/>
          <a:lstStyle/>
          <a:p>
            <a:r>
              <a:rPr lang="ru-RU" b="1" dirty="0" smtClean="0"/>
              <a:t>Исследование рынка </a:t>
            </a:r>
            <a:br>
              <a:rPr lang="ru-RU" b="1" dirty="0" smtClean="0"/>
            </a:br>
            <a:endParaRPr lang="en-US" sz="1600" b="1" dirty="0"/>
          </a:p>
        </p:txBody>
      </p:sp>
      <p:sp>
        <p:nvSpPr>
          <p:cNvPr id="18" name="Content Placeholder 2"/>
          <p:cNvSpPr>
            <a:spLocks noGrp="1"/>
          </p:cNvSpPr>
          <p:nvPr>
            <p:ph idx="10"/>
          </p:nvPr>
        </p:nvSpPr>
        <p:spPr>
          <a:xfrm>
            <a:off x="341653" y="815852"/>
            <a:ext cx="8402650" cy="443198"/>
          </a:xfrm>
        </p:spPr>
        <p:txBody>
          <a:bodyPr/>
          <a:lstStyle/>
          <a:p>
            <a:r>
              <a:rPr lang="ru-RU" sz="1600" dirty="0" smtClean="0"/>
              <a:t>Способы </a:t>
            </a:r>
            <a:r>
              <a:rPr lang="ru-RU" sz="1600" dirty="0"/>
              <a:t>оплаты T&amp;E расходов </a:t>
            </a:r>
            <a:r>
              <a:rPr lang="ru-RU" sz="1600" dirty="0" smtClean="0"/>
              <a:t>в российских компаниях (средний </a:t>
            </a:r>
            <a:r>
              <a:rPr lang="ru-RU" sz="1600" dirty="0"/>
              <a:t>и крупный бизнес с годовым оборотом от 100 </a:t>
            </a:r>
            <a:r>
              <a:rPr lang="ru-RU" sz="1600" dirty="0" smtClean="0"/>
              <a:t>млн </a:t>
            </a:r>
            <a:r>
              <a:rPr lang="ru-RU" sz="1600" dirty="0"/>
              <a:t>р</a:t>
            </a:r>
            <a:r>
              <a:rPr lang="ru-RU" sz="1600" dirty="0" smtClean="0"/>
              <a:t>уб.)</a:t>
            </a:r>
            <a:endParaRPr 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515" y="1822745"/>
            <a:ext cx="3352800" cy="359664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0" y="1849122"/>
            <a:ext cx="4724400" cy="2898161"/>
          </a:xfrm>
          <a:prstGeom prst="rect">
            <a:avLst/>
          </a:prstGeom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gray">
          <a:xfrm>
            <a:off x="312345" y="6298442"/>
            <a:ext cx="2551981" cy="1108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ru-RU" sz="800" b="1" dirty="0">
                <a:solidFill>
                  <a:srgbClr val="5C5C5C"/>
                </a:solidFill>
                <a:latin typeface="Segoe UI"/>
              </a:rPr>
              <a:t>Источник</a:t>
            </a:r>
            <a:r>
              <a:rPr lang="en-US" sz="800" dirty="0">
                <a:solidFill>
                  <a:srgbClr val="5C5C5C"/>
                </a:solidFill>
                <a:latin typeface="Segoe UI"/>
              </a:rPr>
              <a:t>: </a:t>
            </a:r>
            <a:r>
              <a:rPr lang="ru-RU" sz="800" dirty="0" smtClean="0">
                <a:solidFill>
                  <a:srgbClr val="5C5C5C"/>
                </a:solidFill>
                <a:latin typeface="Segoe UI"/>
              </a:rPr>
              <a:t>исследование рынка </a:t>
            </a:r>
            <a:r>
              <a:rPr lang="en-US" sz="800" dirty="0" smtClean="0">
                <a:solidFill>
                  <a:srgbClr val="5C5C5C"/>
                </a:solidFill>
                <a:latin typeface="Segoe UI"/>
              </a:rPr>
              <a:t>IPSOS </a:t>
            </a:r>
            <a:r>
              <a:rPr lang="en-US" sz="800" dirty="0">
                <a:solidFill>
                  <a:srgbClr val="5C5C5C"/>
                </a:solidFill>
                <a:latin typeface="Segoe UI"/>
              </a:rPr>
              <a:t>Suisse </a:t>
            </a:r>
            <a:r>
              <a:rPr lang="en-US" sz="800" dirty="0" smtClean="0">
                <a:solidFill>
                  <a:srgbClr val="5C5C5C"/>
                </a:solidFill>
                <a:latin typeface="Segoe UI"/>
              </a:rPr>
              <a:t>SA</a:t>
            </a:r>
            <a:r>
              <a:rPr lang="ru-RU" sz="800" dirty="0" smtClean="0">
                <a:solidFill>
                  <a:srgbClr val="5C5C5C"/>
                </a:solidFill>
                <a:latin typeface="Segoe UI"/>
              </a:rPr>
              <a:t>, </a:t>
            </a:r>
            <a:r>
              <a:rPr lang="en-US" sz="800" dirty="0" smtClean="0">
                <a:solidFill>
                  <a:srgbClr val="5C5C5C"/>
                </a:solidFill>
                <a:latin typeface="Segoe UI"/>
              </a:rPr>
              <a:t>201</a:t>
            </a:r>
            <a:r>
              <a:rPr lang="ru-RU" sz="800" dirty="0" smtClean="0">
                <a:solidFill>
                  <a:srgbClr val="5C5C5C"/>
                </a:solidFill>
                <a:latin typeface="Segoe UI"/>
              </a:rPr>
              <a:t>3</a:t>
            </a:r>
            <a:endParaRPr lang="en-US" sz="8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95800" y="1665514"/>
            <a:ext cx="4148285" cy="627864"/>
          </a:xfrm>
          <a:prstGeom prst="rect">
            <a:avLst/>
          </a:prstGeom>
          <a:solidFill>
            <a:schemeClr val="bg1"/>
          </a:solidFill>
        </p:spPr>
        <p:txBody>
          <a:bodyPr wrap="square" tIns="91440" bIns="91440" rtlCol="0" anchor="ctr" anchorCtr="0">
            <a:spAutoFit/>
          </a:bodyPr>
          <a:lstStyle/>
          <a:p>
            <a:pPr algn="ctr" eaLnBrk="0" hangingPunct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ru-RU" sz="1600" b="1" u="sng" dirty="0" smtClean="0">
                <a:solidFill>
                  <a:srgbClr val="000000"/>
                </a:solidFill>
                <a:latin typeface="Segoe UI"/>
              </a:rPr>
              <a:t>Основные источники информации о корпоративных карты</a:t>
            </a:r>
            <a:endParaRPr lang="en-US" sz="1600" b="1" u="sng" dirty="0" err="1" smtClean="0">
              <a:solidFill>
                <a:srgbClr val="00000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26090274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81" name="Text Box 10"/>
          <p:cNvSpPr txBox="1">
            <a:spLocks noChangeArrowheads="1"/>
          </p:cNvSpPr>
          <p:nvPr/>
        </p:nvSpPr>
        <p:spPr bwMode="auto">
          <a:xfrm>
            <a:off x="268815" y="856369"/>
            <a:ext cx="836881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ea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charset="0"/>
              <a:buNone/>
              <a:defRPr sz="2000" b="0">
                <a:solidFill>
                  <a:schemeClr val="accent5"/>
                </a:solidFill>
                <a:latin typeface="+mn-lt"/>
              </a:defRPr>
            </a:lvl1pPr>
            <a:lvl2pPr marL="460375" indent="-233363" eaLnBrk="1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charset="0"/>
              <a:buChar char="–"/>
              <a:defRPr sz="1800">
                <a:solidFill>
                  <a:schemeClr val="bg2"/>
                </a:solidFill>
                <a:latin typeface="+mn-lt"/>
              </a:defRPr>
            </a:lvl2pPr>
            <a:lvl3pPr marL="658368" indent="-171450" eaLnBrk="1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Font typeface="Arial" charset="0"/>
              <a:buChar char="•"/>
              <a:defRPr sz="1600">
                <a:solidFill>
                  <a:schemeClr val="bg2"/>
                </a:solidFill>
                <a:latin typeface="+mn-lt"/>
              </a:defRPr>
            </a:lvl3pPr>
            <a:lvl4pPr marL="877824" indent="-203200" eaLnBrk="1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egoe UI" panose="020B0502040204020203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4pPr>
            <a:lvl5pPr marL="1028700" indent="-142875" eaLnBrk="1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bg2"/>
              </a:buClr>
              <a:buSzPct val="90000"/>
              <a:buFont typeface="Arial" panose="020B0604020202020204" pitchFamily="34" charset="0"/>
              <a:buChar char="•"/>
              <a:tabLst>
                <a:tab pos="1143000" algn="l"/>
              </a:tabLst>
              <a:defRPr sz="1600">
                <a:solidFill>
                  <a:schemeClr val="bg2"/>
                </a:solidFill>
                <a:latin typeface="+mn-lt"/>
              </a:defRPr>
            </a:lvl5pPr>
            <a:lvl6pPr marL="2033781" indent="-197001" fontAlgn="base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latin typeface="+mn-lt"/>
              </a:defRPr>
            </a:lvl6pPr>
            <a:lvl7pPr marL="2441954" indent="-197001" fontAlgn="base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latin typeface="+mn-lt"/>
              </a:defRPr>
            </a:lvl7pPr>
            <a:lvl8pPr marL="2850128" indent="-197001" fontAlgn="base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latin typeface="+mn-lt"/>
              </a:defRPr>
            </a:lvl8pPr>
            <a:lvl9pPr marL="3258303" indent="-197001" fontAlgn="base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FFA000"/>
              </a:buClr>
              <a:buSzPct val="90000"/>
              <a:buFont typeface="Arial" charset="0"/>
              <a:buChar char="–"/>
              <a:defRPr sz="1900">
                <a:latin typeface="+mn-lt"/>
              </a:defRPr>
            </a:lvl9pPr>
          </a:lstStyle>
          <a:p>
            <a:pPr>
              <a:buClr>
                <a:srgbClr val="5C5C5C"/>
              </a:buClr>
            </a:pPr>
            <a:r>
              <a:rPr lang="ru-RU" sz="1600" b="1" dirty="0">
                <a:solidFill>
                  <a:srgbClr val="EF8400"/>
                </a:solidFill>
              </a:rPr>
              <a:t>Потребности компаний в сфере платежей по всему миру во многом схожи и </a:t>
            </a:r>
            <a:r>
              <a:rPr lang="ru-RU" sz="1600" b="1" dirty="0" smtClean="0">
                <a:solidFill>
                  <a:srgbClr val="EF8400"/>
                </a:solidFill>
              </a:rPr>
              <a:t>сводятся </a:t>
            </a:r>
            <a:r>
              <a:rPr lang="ru-RU" sz="1600" b="1" dirty="0">
                <a:solidFill>
                  <a:srgbClr val="EF8400"/>
                </a:solidFill>
              </a:rPr>
              <a:t>к </a:t>
            </a:r>
            <a:r>
              <a:rPr lang="ru-RU" sz="1600" b="1" dirty="0" smtClean="0">
                <a:solidFill>
                  <a:srgbClr val="EF8400"/>
                </a:solidFill>
              </a:rPr>
              <a:t>3 </a:t>
            </a:r>
            <a:r>
              <a:rPr lang="ru-RU" sz="1600" b="1" dirty="0">
                <a:solidFill>
                  <a:srgbClr val="EF8400"/>
                </a:solidFill>
              </a:rPr>
              <a:t>основным </a:t>
            </a:r>
            <a:r>
              <a:rPr lang="ru-RU" sz="1600" b="1" dirty="0" smtClean="0">
                <a:solidFill>
                  <a:srgbClr val="EF8400"/>
                </a:solidFill>
              </a:rPr>
              <a:t>задачам:</a:t>
            </a:r>
            <a:endParaRPr lang="en-US" sz="1600" b="1" dirty="0">
              <a:solidFill>
                <a:srgbClr val="EF8400"/>
              </a:solidFill>
            </a:endParaRPr>
          </a:p>
        </p:txBody>
      </p:sp>
      <p:sp>
        <p:nvSpPr>
          <p:cNvPr id="19" name="Rectangle 4"/>
          <p:cNvSpPr txBox="1">
            <a:spLocks noChangeArrowheads="1"/>
          </p:cNvSpPr>
          <p:nvPr/>
        </p:nvSpPr>
        <p:spPr>
          <a:xfrm>
            <a:off x="317989" y="260649"/>
            <a:ext cx="7989998" cy="366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eaLnBrk="1" hangingPunct="1">
              <a:lnSpc>
                <a:spcPct val="85000"/>
              </a:lnSpc>
              <a:defRPr sz="2800" b="0" kern="0">
                <a:latin typeface="+mj-lt"/>
                <a:ea typeface="+mj-ea"/>
                <a:cs typeface="+mj-cs"/>
              </a:defRPr>
            </a:lvl1pPr>
            <a:lvl2pPr eaLnBrk="1" hangingPunct="1">
              <a:lnSpc>
                <a:spcPct val="90000"/>
              </a:lnSpc>
              <a:defRPr sz="2700" b="1"/>
            </a:lvl2pPr>
            <a:lvl3pPr eaLnBrk="1" hangingPunct="1">
              <a:lnSpc>
                <a:spcPct val="90000"/>
              </a:lnSpc>
              <a:defRPr sz="2700" b="1"/>
            </a:lvl3pPr>
            <a:lvl4pPr eaLnBrk="1" hangingPunct="1">
              <a:lnSpc>
                <a:spcPct val="90000"/>
              </a:lnSpc>
              <a:defRPr sz="2700" b="1"/>
            </a:lvl4pPr>
            <a:lvl5pPr eaLnBrk="1" hangingPunct="1">
              <a:lnSpc>
                <a:spcPct val="90000"/>
              </a:lnSpc>
              <a:defRPr sz="2700" b="1"/>
            </a:lvl5pPr>
            <a:lvl6pPr marL="40817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/>
            </a:lvl6pPr>
            <a:lvl7pPr marL="81634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/>
            </a:lvl7pPr>
            <a:lvl8pPr marL="122452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/>
            </a:lvl8pPr>
            <a:lvl9pPr marL="163269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/>
            </a:lvl9pPr>
          </a:lstStyle>
          <a:p>
            <a:r>
              <a:rPr lang="ru-RU" b="1" dirty="0">
                <a:solidFill>
                  <a:srgbClr val="1A1F71"/>
                </a:solidFill>
              </a:rPr>
              <a:t>Потребности коммерческих организаций</a:t>
            </a:r>
            <a:endParaRPr lang="en-US" b="1" dirty="0">
              <a:solidFill>
                <a:srgbClr val="1A1F71"/>
              </a:solidFill>
            </a:endParaRPr>
          </a:p>
        </p:txBody>
      </p:sp>
      <p:graphicFrame>
        <p:nvGraphicFramePr>
          <p:cNvPr id="2" name="Diagram 1"/>
          <p:cNvGraphicFramePr/>
          <p:nvPr>
            <p:extLst/>
          </p:nvPr>
        </p:nvGraphicFramePr>
        <p:xfrm>
          <a:off x="317991" y="1916833"/>
          <a:ext cx="8508019" cy="26627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" name="Diagram 2"/>
          <p:cNvGraphicFramePr/>
          <p:nvPr>
            <p:extLst/>
          </p:nvPr>
        </p:nvGraphicFramePr>
        <p:xfrm>
          <a:off x="384458" y="5085184"/>
          <a:ext cx="8137525" cy="1008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035342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  <p:bldGraphic spid="3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1259632" y="2204865"/>
            <a:ext cx="7416824" cy="2952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/>
            <a:r>
              <a:rPr lang="ru-RU" sz="330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  <a:endParaRPr lang="en-US" sz="330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endParaRPr lang="ru-RU" sz="24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r>
              <a:rPr lang="ru-RU" sz="24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Пресс-конференция</a:t>
            </a:r>
          </a:p>
          <a:p>
            <a:pPr algn="r"/>
            <a:endParaRPr lang="en-US" sz="24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r>
              <a:rPr lang="ru-RU" sz="24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Корпоративные расходы могут быть умными</a:t>
            </a:r>
            <a:endParaRPr lang="ru-RU" sz="2400" b="0" kern="0" dirty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r>
              <a:rPr lang="ru-RU" sz="2800" kern="0" dirty="0">
                <a:solidFill>
                  <a:prstClr val="white"/>
                </a:solidFill>
                <a:cs typeface="Arial" panose="020B0604020202020204" pitchFamily="34" charset="0"/>
              </a:rPr>
              <a:t>«Бизнес </a:t>
            </a:r>
            <a:r>
              <a:rPr lang="ru-RU" sz="2800" kern="0" dirty="0" err="1">
                <a:solidFill>
                  <a:prstClr val="white"/>
                </a:solidFill>
                <a:cs typeface="Arial" panose="020B0604020202020204" pitchFamily="34" charset="0"/>
              </a:rPr>
              <a:t>Card</a:t>
            </a:r>
            <a:r>
              <a:rPr lang="ru-RU" sz="2800" kern="0" dirty="0">
                <a:solidFill>
                  <a:prstClr val="white"/>
                </a:solidFill>
                <a:cs typeface="Arial" panose="020B0604020202020204" pitchFamily="34" charset="0"/>
              </a:rPr>
              <a:t> —уникальное решение для управления корпоративными расходами»</a:t>
            </a:r>
          </a:p>
          <a:p>
            <a:pPr algn="r"/>
            <a:endParaRPr lang="ru-RU" sz="2400" b="0" kern="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499964" y="5013176"/>
            <a:ext cx="4792116" cy="1296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ru-RU" sz="18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r>
              <a:rPr lang="ru-RU" sz="18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11 ноября 2015 г. </a:t>
            </a:r>
          </a:p>
        </p:txBody>
      </p:sp>
    </p:spTree>
    <p:extLst>
      <p:ext uri="{BB962C8B-B14F-4D97-AF65-F5344CB8AC3E}">
        <p14:creationId xmlns:p14="http://schemas.microsoft.com/office/powerpoint/2010/main" val="843438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1259632" y="2204865"/>
            <a:ext cx="7416824" cy="2952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/>
            <a:r>
              <a:rPr lang="ru-RU" sz="330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  <a:endParaRPr lang="en-US" sz="330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endParaRPr lang="ru-RU" sz="24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r>
              <a:rPr lang="ru-RU" sz="24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Павел Бельтюков</a:t>
            </a:r>
            <a:endParaRPr lang="ru-RU" sz="2400" b="0" kern="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499964" y="5013176"/>
            <a:ext cx="4792116" cy="1296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8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Пресс-конференция</a:t>
            </a:r>
          </a:p>
          <a:p>
            <a:r>
              <a:rPr lang="ru-RU" sz="1800" kern="0" dirty="0">
                <a:solidFill>
                  <a:prstClr val="white"/>
                </a:solidFill>
                <a:cs typeface="Arial" panose="020B0604020202020204" pitchFamily="34" charset="0"/>
              </a:rPr>
              <a:t>«Бизнес </a:t>
            </a:r>
            <a:r>
              <a:rPr lang="ru-RU" sz="1800" kern="0" dirty="0" err="1">
                <a:solidFill>
                  <a:prstClr val="white"/>
                </a:solidFill>
                <a:cs typeface="Arial" panose="020B0604020202020204" pitchFamily="34" charset="0"/>
              </a:rPr>
              <a:t>Card</a:t>
            </a:r>
            <a:r>
              <a:rPr lang="ru-RU" sz="1800" kern="0" dirty="0">
                <a:solidFill>
                  <a:prstClr val="white"/>
                </a:solidFill>
                <a:cs typeface="Arial" panose="020B0604020202020204" pitchFamily="34" charset="0"/>
              </a:rPr>
              <a:t> —уникальное решение для управления корпоративными расходами</a:t>
            </a:r>
            <a:r>
              <a:rPr lang="ru-RU" sz="180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»</a:t>
            </a:r>
          </a:p>
          <a:p>
            <a:endParaRPr lang="ru-RU" sz="18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r>
              <a:rPr lang="ru-RU" sz="18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11 ноября 2015 г. </a:t>
            </a:r>
          </a:p>
        </p:txBody>
      </p:sp>
    </p:spTree>
    <p:extLst>
      <p:ext uri="{BB962C8B-B14F-4D97-AF65-F5344CB8AC3E}">
        <p14:creationId xmlns:p14="http://schemas.microsoft.com/office/powerpoint/2010/main" val="81860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1018475" y="93240"/>
            <a:ext cx="5281717" cy="815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800" b="1" dirty="0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Каждый день </a:t>
            </a:r>
            <a:r>
              <a:rPr lang="ru-RU" sz="2800" b="1" dirty="0" smtClean="0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компании сталкиваются с </a:t>
            </a:r>
            <a:r>
              <a:rPr lang="ru-RU" sz="2800" b="1" dirty="0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расходами на: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115616" y="1183888"/>
            <a:ext cx="3395180" cy="1728192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ts val="3200"/>
              </a:lnSpc>
              <a:spcBef>
                <a:spcPts val="0"/>
              </a:spcBef>
              <a:spcAft>
                <a:spcPts val="0"/>
              </a:spcAft>
            </a:pPr>
            <a:endParaRPr lang="en-US" sz="2100" b="1" dirty="0" smtClean="0">
              <a:solidFill>
                <a:srgbClr val="2EB2A0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100" b="1" dirty="0" smtClean="0">
                <a:solidFill>
                  <a:srgbClr val="2EB2A0"/>
                </a:solidFill>
              </a:rPr>
              <a:t>Автопарк</a:t>
            </a:r>
          </a:p>
          <a:p>
            <a:pPr algn="ctr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endParaRPr lang="ru-RU" sz="1400" b="1" dirty="0" smtClean="0">
              <a:solidFill>
                <a:srgbClr val="F79646">
                  <a:lumMod val="75000"/>
                </a:srgbClr>
              </a:solidFill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Топливо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Ремонт и обслуживание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Мойка и шиномонтаж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Платные дороги и парковки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Оплата штрафов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prstClr val="white"/>
              </a:solidFill>
            </a:endParaRPr>
          </a:p>
          <a:p>
            <a:pPr marL="285750" indent="-28575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99851" y="5256480"/>
            <a:ext cx="79605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600" dirty="0" smtClean="0">
                <a:solidFill>
                  <a:prstClr val="black"/>
                </a:solidFill>
                <a:latin typeface="Calibri"/>
              </a:rPr>
              <a:t>И используют разные методы для оплаты корпоративных расходов: топливная карта, банковская карта, наличные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600" dirty="0" smtClean="0">
                <a:solidFill>
                  <a:prstClr val="black"/>
                </a:solidFill>
                <a:latin typeface="Calibri"/>
              </a:rPr>
              <a:t>У нас есть решение, которое поможет упростить процессы и сэкономить время </a:t>
            </a:r>
            <a:r>
              <a:rPr lang="en-US" sz="1600" dirty="0" smtClean="0">
                <a:solidFill>
                  <a:prstClr val="black"/>
                </a:solidFill>
                <a:latin typeface="Calibri"/>
              </a:rPr>
              <a:t>—</a:t>
            </a:r>
            <a:r>
              <a:rPr lang="ru-RU" sz="1600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ru-RU" sz="1600" b="1" dirty="0" smtClean="0">
                <a:solidFill>
                  <a:srgbClr val="0070C0"/>
                </a:solidFill>
                <a:latin typeface="Calibri"/>
              </a:rPr>
              <a:t>Бизнес</a:t>
            </a:r>
            <a:r>
              <a:rPr lang="en-US" sz="1600" b="1" dirty="0" smtClean="0">
                <a:solidFill>
                  <a:srgbClr val="0070C0"/>
                </a:solidFill>
                <a:latin typeface="Calibri"/>
              </a:rPr>
              <a:t> Card</a:t>
            </a:r>
            <a:r>
              <a:rPr lang="ru-RU" sz="1600" b="1" dirty="0" smtClean="0">
                <a:solidFill>
                  <a:srgbClr val="0070C0"/>
                </a:solidFill>
                <a:latin typeface="Calibri"/>
              </a:rPr>
              <a:t> </a:t>
            </a:r>
            <a:r>
              <a:rPr lang="en-US" sz="1600" dirty="0" smtClean="0">
                <a:solidFill>
                  <a:prstClr val="black"/>
                </a:solidFill>
                <a:latin typeface="Calibri"/>
              </a:rPr>
              <a:t>—</a:t>
            </a:r>
            <a:r>
              <a:rPr lang="ru-RU" sz="1600" dirty="0" smtClean="0">
                <a:solidFill>
                  <a:prstClr val="black"/>
                </a:solidFill>
                <a:latin typeface="Calibri"/>
              </a:rPr>
              <a:t> карта для оплаты корпоративных расходов.</a:t>
            </a:r>
            <a:endParaRPr lang="ru-RU" sz="16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115616" y="3225552"/>
            <a:ext cx="3395180" cy="1872208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100" b="1" dirty="0" smtClean="0">
                <a:solidFill>
                  <a:srgbClr val="2EB2A0"/>
                </a:solidFill>
              </a:rPr>
              <a:t>Разовые расходы</a:t>
            </a:r>
          </a:p>
          <a:p>
            <a:pPr algn="ctr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endParaRPr lang="ru-RU" sz="1400" b="1" dirty="0" smtClean="0">
              <a:solidFill>
                <a:srgbClr val="F79646">
                  <a:lumMod val="75000"/>
                </a:srgbClr>
              </a:solidFill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Разовые расходы удаленных сотрудников</a:t>
            </a:r>
            <a:endParaRPr lang="ru-RU" sz="1400" dirty="0" smtClean="0">
              <a:solidFill>
                <a:prstClr val="black"/>
              </a:solidFill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Корпоративные мероприятия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prstClr val="white"/>
              </a:solidFill>
            </a:endParaRPr>
          </a:p>
          <a:p>
            <a:pPr marL="285750" indent="-28575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788022" y="1183888"/>
            <a:ext cx="3312369" cy="1744608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100" b="1" dirty="0" smtClean="0">
              <a:solidFill>
                <a:srgbClr val="2EB2A0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100" b="1" dirty="0">
              <a:solidFill>
                <a:srgbClr val="2EB2A0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100" b="1" dirty="0" smtClean="0">
                <a:solidFill>
                  <a:srgbClr val="2EB2A0"/>
                </a:solidFill>
              </a:rPr>
              <a:t>Командировочные </a:t>
            </a:r>
          </a:p>
          <a:p>
            <a:pPr algn="ctr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endParaRPr lang="ru-RU" sz="1400" b="1" dirty="0" smtClean="0">
              <a:solidFill>
                <a:srgbClr val="F79646">
                  <a:lumMod val="75000"/>
                </a:srgbClr>
              </a:solidFill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Покупка ж/д, авиа-билетов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Оплата гостиниц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Рестораны, кафе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Оплата визы и консульских сборов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1200" dirty="0" smtClean="0">
              <a:solidFill>
                <a:prstClr val="black"/>
              </a:solidFill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prstClr val="white"/>
              </a:solidFill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prstClr val="white"/>
              </a:solidFill>
            </a:endParaRPr>
          </a:p>
          <a:p>
            <a:pPr marL="285750" indent="-28575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788022" y="3225552"/>
            <a:ext cx="3312368" cy="1872208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endParaRPr lang="en-US" sz="2100" b="1" dirty="0">
              <a:solidFill>
                <a:srgbClr val="2EB2A0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100" b="1" dirty="0" smtClean="0">
                <a:solidFill>
                  <a:srgbClr val="2EB2A0"/>
                </a:solidFill>
              </a:rPr>
              <a:t>Прочее</a:t>
            </a:r>
          </a:p>
          <a:p>
            <a:pPr algn="ctr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endParaRPr lang="ru-RU" sz="1400" b="1" dirty="0" smtClean="0">
              <a:solidFill>
                <a:srgbClr val="F79646">
                  <a:lumMod val="75000"/>
                </a:srgbClr>
              </a:solidFill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Хозяйственные расходы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Офисные расходы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Представительские расходы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</a:rPr>
              <a:t>Онлайн-платежи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prstClr val="white"/>
              </a:solidFill>
            </a:endParaRPr>
          </a:p>
          <a:p>
            <a:pPr marL="285750" indent="-28575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669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5B6877-0BEE-43E0-8D78-644D3D8309C3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1018475" y="93240"/>
            <a:ext cx="5281717" cy="815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800" b="1" dirty="0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Опережая ваши </a:t>
            </a:r>
            <a:r>
              <a:rPr lang="ru-RU" sz="2800" b="1" dirty="0" smtClean="0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ожидания</a:t>
            </a:r>
            <a:r>
              <a:rPr lang="en-US" sz="2800" b="1" dirty="0" smtClean="0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.</a:t>
            </a:r>
          </a:p>
          <a:p>
            <a:pPr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prstClr val="white"/>
                </a:solidFill>
                <a:latin typeface="Calibri"/>
              </a:rPr>
              <a:t>Выгода</a:t>
            </a:r>
            <a:r>
              <a:rPr lang="ru-RU" sz="2800" b="1" dirty="0">
                <a:solidFill>
                  <a:prstClr val="white"/>
                </a:solidFill>
                <a:latin typeface="Calibri"/>
              </a:rPr>
              <a:t>. Удобство. Контроль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323528" y="1679998"/>
            <a:ext cx="2233164" cy="1697385"/>
            <a:chOff x="323528" y="1679998"/>
            <a:chExt cx="2233164" cy="1697385"/>
          </a:xfrm>
        </p:grpSpPr>
        <p:sp>
          <p:nvSpPr>
            <p:cNvPr id="17" name="Скругленный прямоугольник 16"/>
            <p:cNvSpPr/>
            <p:nvPr/>
          </p:nvSpPr>
          <p:spPr>
            <a:xfrm>
              <a:off x="323528" y="1679998"/>
              <a:ext cx="2233164" cy="1697385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14505" y="1824013"/>
              <a:ext cx="1998171" cy="14209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ru-RU" b="1" dirty="0">
                  <a:solidFill>
                    <a:srgbClr val="2EB2A0"/>
                  </a:solidFill>
                  <a:latin typeface="Calibri"/>
                </a:rPr>
                <a:t>Универсальная</a:t>
              </a:r>
              <a:r>
                <a:rPr lang="ru-RU" b="1" dirty="0" smtClean="0">
                  <a:solidFill>
                    <a:srgbClr val="2EB2A0"/>
                  </a:solidFill>
                  <a:latin typeface="Calibri"/>
                </a:rPr>
                <a:t> сеть приема</a:t>
              </a:r>
              <a:endParaRPr lang="en-US" b="1" dirty="0" smtClean="0">
                <a:solidFill>
                  <a:srgbClr val="2EB2A0"/>
                </a:solidFill>
                <a:latin typeface="Calibri"/>
              </a:endParaRPr>
            </a:p>
            <a:p>
              <a:pPr algn="ctr" fontAlgn="auto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</a:pPr>
              <a:endParaRPr lang="ru-RU" b="1" dirty="0">
                <a:solidFill>
                  <a:srgbClr val="2EB2A0"/>
                </a:solidFill>
                <a:latin typeface="Calibri"/>
              </a:endParaRP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Все точки обслуживания карт </a:t>
              </a:r>
              <a:r>
                <a:rPr lang="en-US" sz="1200" dirty="0" smtClean="0">
                  <a:solidFill>
                    <a:prstClr val="black"/>
                  </a:solidFill>
                  <a:latin typeface="Calibri"/>
                </a:rPr>
                <a:t>Visa</a:t>
              </a: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 </a:t>
              </a:r>
              <a:r>
                <a:rPr lang="ru-RU" sz="1200" dirty="0">
                  <a:solidFill>
                    <a:prstClr val="black"/>
                  </a:solidFill>
                  <a:latin typeface="Calibri"/>
                </a:rPr>
                <a:t>в </a:t>
              </a: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России.</a:t>
              </a:r>
              <a:endParaRPr lang="ru-RU" sz="1200" dirty="0">
                <a:solidFill>
                  <a:prstClr val="black"/>
                </a:solidFill>
                <a:latin typeface="Calibri"/>
              </a:endParaRP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Гибкая настройка </a:t>
              </a:r>
              <a:r>
                <a:rPr lang="ru-RU" sz="1200" dirty="0">
                  <a:solidFill>
                    <a:prstClr val="black"/>
                  </a:solidFill>
                  <a:latin typeface="Calibri"/>
                </a:rPr>
                <a:t>сети </a:t>
              </a: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приема.</a:t>
              </a: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6715305" y="1824013"/>
            <a:ext cx="2106083" cy="1821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>
                <a:solidFill>
                  <a:srgbClr val="2EB2A0"/>
                </a:solidFill>
                <a:latin typeface="Calibri"/>
              </a:rPr>
              <a:t>Контроль</a:t>
            </a:r>
            <a:endParaRPr lang="en-US" b="1" dirty="0" smtClean="0">
              <a:solidFill>
                <a:srgbClr val="2EB2A0"/>
              </a:solidFill>
              <a:latin typeface="Calibri"/>
            </a:endParaRPr>
          </a:p>
          <a:p>
            <a:pPr algn="ctr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rgbClr val="F79646">
                  <a:lumMod val="75000"/>
                </a:srgbClr>
              </a:solidFill>
              <a:latin typeface="Calibri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Онлайн-управление лимитами и категориями товаров и услуг.  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Предупреждения</a:t>
            </a:r>
            <a:endParaRPr lang="en-US" sz="1200" dirty="0" smtClean="0">
              <a:solidFill>
                <a:prstClr val="black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    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по картам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1200" dirty="0" smtClean="0">
              <a:solidFill>
                <a:prstClr val="black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715305" y="4293096"/>
            <a:ext cx="2106083" cy="2190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>
                <a:solidFill>
                  <a:srgbClr val="2EB2A0"/>
                </a:solidFill>
                <a:latin typeface="Calibri"/>
              </a:rPr>
              <a:t>Удобство</a:t>
            </a:r>
            <a:endParaRPr lang="en-US" b="1" dirty="0" smtClean="0">
              <a:solidFill>
                <a:srgbClr val="2EB2A0"/>
              </a:solidFill>
              <a:latin typeface="Calibri"/>
            </a:endParaRPr>
          </a:p>
          <a:p>
            <a:pPr algn="ctr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rgbClr val="F79646">
                  <a:lumMod val="75000"/>
                </a:srgbClr>
              </a:solidFill>
              <a:latin typeface="Calibri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Без открытия р/с</a:t>
            </a:r>
            <a:endParaRPr lang="en-US" sz="1200" dirty="0" smtClean="0">
              <a:solidFill>
                <a:prstClr val="black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    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в банке.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Единый счет по всем</a:t>
            </a:r>
            <a:endParaRPr lang="en-US" sz="1200" dirty="0" smtClean="0">
              <a:solidFill>
                <a:prstClr val="black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    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картам и типам операций.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Мгновенное зачисление средств на счет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/>
            </a:r>
            <a:br>
              <a:rPr lang="ru-RU" sz="1200" dirty="0" smtClean="0">
                <a:solidFill>
                  <a:prstClr val="black"/>
                </a:solidFill>
                <a:latin typeface="Calibri"/>
              </a:rPr>
            </a:br>
            <a:endParaRPr lang="ru-RU" sz="1200" dirty="0" smtClean="0">
              <a:solidFill>
                <a:prstClr val="black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843808" y="4869160"/>
            <a:ext cx="3744416" cy="1482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>
                <a:solidFill>
                  <a:srgbClr val="2EB2A0"/>
                </a:solidFill>
                <a:latin typeface="Calibri"/>
              </a:rPr>
              <a:t>Отчетность</a:t>
            </a:r>
            <a:endParaRPr lang="en-US" b="1" dirty="0" smtClean="0">
              <a:solidFill>
                <a:srgbClr val="2EB2A0"/>
              </a:solidFill>
              <a:latin typeface="Calibri"/>
            </a:endParaRPr>
          </a:p>
          <a:p>
            <a:pPr algn="ctr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</a:pPr>
            <a:endParaRPr lang="ru-RU" b="1" dirty="0">
              <a:solidFill>
                <a:srgbClr val="2EB2A0"/>
              </a:solidFill>
              <a:latin typeface="Calibri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Единая отчетность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с информацией о держателе карты, категории расходов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и точек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обслуживания.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Аналитическая отчетность по затратам с интеграцией в вашу учетную систему</a:t>
            </a:r>
            <a:r>
              <a:rPr lang="ru-RU" sz="1400" dirty="0" smtClean="0">
                <a:solidFill>
                  <a:prstClr val="black"/>
                </a:solidFill>
                <a:latin typeface="Calibri"/>
              </a:rPr>
              <a:t>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cxnSp>
        <p:nvCxnSpPr>
          <p:cNvPr id="32" name="Прямая со стрелкой 31"/>
          <p:cNvCxnSpPr/>
          <p:nvPr/>
        </p:nvCxnSpPr>
        <p:spPr>
          <a:xfrm flipV="1">
            <a:off x="5292080" y="3204398"/>
            <a:ext cx="1296144" cy="512634"/>
          </a:xfrm>
          <a:prstGeom prst="straightConnector1">
            <a:avLst/>
          </a:prstGeom>
          <a:ln w="19050">
            <a:solidFill>
              <a:srgbClr val="2EB2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>
            <a:off x="5101716" y="4051689"/>
            <a:ext cx="1414500" cy="386596"/>
          </a:xfrm>
          <a:prstGeom prst="straightConnector1">
            <a:avLst/>
          </a:prstGeom>
          <a:ln w="19050">
            <a:solidFill>
              <a:srgbClr val="2EB2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H="1" flipV="1">
            <a:off x="2627784" y="3204397"/>
            <a:ext cx="1368152" cy="512635"/>
          </a:xfrm>
          <a:prstGeom prst="straightConnector1">
            <a:avLst/>
          </a:prstGeom>
          <a:ln w="19050">
            <a:solidFill>
              <a:srgbClr val="2EB2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 flipH="1">
            <a:off x="2699792" y="3990121"/>
            <a:ext cx="1146522" cy="453714"/>
          </a:xfrm>
          <a:prstGeom prst="straightConnector1">
            <a:avLst/>
          </a:prstGeom>
          <a:ln w="19050">
            <a:solidFill>
              <a:srgbClr val="2EB2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 flipH="1">
            <a:off x="4572000" y="4345087"/>
            <a:ext cx="1" cy="453714"/>
          </a:xfrm>
          <a:prstGeom prst="straightConnector1">
            <a:avLst/>
          </a:prstGeom>
          <a:ln w="19050">
            <a:solidFill>
              <a:srgbClr val="2EB2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 flipH="1" flipV="1">
            <a:off x="4571999" y="2996952"/>
            <a:ext cx="2" cy="414891"/>
          </a:xfrm>
          <a:prstGeom prst="straightConnector1">
            <a:avLst/>
          </a:prstGeom>
          <a:ln w="19050">
            <a:solidFill>
              <a:srgbClr val="2EB2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Рисунок 3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0344" y="3244915"/>
            <a:ext cx="2003309" cy="1264205"/>
          </a:xfrm>
          <a:prstGeom prst="rect">
            <a:avLst/>
          </a:prstGeom>
        </p:spPr>
      </p:pic>
      <p:sp>
        <p:nvSpPr>
          <p:cNvPr id="39" name="Скругленный прямоугольник 38"/>
          <p:cNvSpPr/>
          <p:nvPr/>
        </p:nvSpPr>
        <p:spPr>
          <a:xfrm>
            <a:off x="6588224" y="1679998"/>
            <a:ext cx="2233164" cy="1697385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2699792" y="1052736"/>
            <a:ext cx="3744416" cy="1872208"/>
            <a:chOff x="2771800" y="1052736"/>
            <a:chExt cx="3600400" cy="1872208"/>
          </a:xfrm>
        </p:grpSpPr>
        <p:sp>
          <p:nvSpPr>
            <p:cNvPr id="15" name="TextBox 14"/>
            <p:cNvSpPr txBox="1"/>
            <p:nvPr/>
          </p:nvSpPr>
          <p:spPr>
            <a:xfrm>
              <a:off x="2843808" y="1177518"/>
              <a:ext cx="3528392" cy="16055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ru-RU" b="1" dirty="0" smtClean="0">
                  <a:solidFill>
                    <a:srgbClr val="2EB2A0"/>
                  </a:solidFill>
                  <a:latin typeface="Calibri"/>
                </a:rPr>
                <a:t>Более 80% АЗС </a:t>
              </a:r>
              <a:endParaRPr lang="en-US" b="1" dirty="0" smtClean="0">
                <a:solidFill>
                  <a:srgbClr val="2EB2A0"/>
                </a:solidFill>
                <a:latin typeface="Calibri"/>
              </a:endParaRPr>
            </a:p>
            <a:p>
              <a:pPr algn="ctr" fontAlgn="auto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ru-RU" b="1" dirty="0" smtClean="0">
                  <a:solidFill>
                    <a:srgbClr val="2EB2A0"/>
                  </a:solidFill>
                  <a:latin typeface="Calibri"/>
                </a:rPr>
                <a:t>принимают Бизнес </a:t>
              </a:r>
              <a:r>
                <a:rPr lang="en-US" b="1" dirty="0" smtClean="0">
                  <a:solidFill>
                    <a:srgbClr val="2EB2A0"/>
                  </a:solidFill>
                  <a:latin typeface="Calibri"/>
                </a:rPr>
                <a:t>Card</a:t>
              </a:r>
              <a:r>
                <a:rPr lang="ru-RU" b="1" dirty="0" smtClean="0">
                  <a:solidFill>
                    <a:srgbClr val="2EB2A0"/>
                  </a:solidFill>
                  <a:latin typeface="Calibri"/>
                </a:rPr>
                <a:t>:</a:t>
              </a:r>
              <a:endParaRPr lang="en-US" b="1" dirty="0" smtClean="0">
                <a:solidFill>
                  <a:srgbClr val="2EB2A0"/>
                </a:solidFill>
                <a:latin typeface="Calibri"/>
              </a:endParaRPr>
            </a:p>
            <a:p>
              <a:pPr algn="ctr" fontAlgn="auto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</a:pPr>
              <a:endParaRPr lang="ru-RU" b="1" dirty="0">
                <a:solidFill>
                  <a:srgbClr val="2EB2A0"/>
                </a:solidFill>
                <a:latin typeface="Calibri"/>
              </a:endParaRP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ru-RU" sz="1200" dirty="0">
                  <a:solidFill>
                    <a:prstClr val="black"/>
                  </a:solidFill>
                  <a:latin typeface="Calibri"/>
                </a:rPr>
                <a:t>Сеть </a:t>
              </a: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приема карт «</a:t>
              </a:r>
              <a:r>
                <a:rPr lang="ru-RU" sz="1200" dirty="0" err="1" smtClean="0">
                  <a:solidFill>
                    <a:prstClr val="black"/>
                  </a:solidFill>
                  <a:latin typeface="Calibri"/>
                </a:rPr>
                <a:t>Петрол</a:t>
              </a: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 Плюс» </a:t>
              </a:r>
              <a:r>
                <a:rPr lang="ru-RU" sz="1200" dirty="0">
                  <a:solidFill>
                    <a:prstClr val="black"/>
                  </a:solidFill>
                  <a:latin typeface="Calibri"/>
                </a:rPr>
                <a:t>(</a:t>
              </a: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более</a:t>
              </a:r>
              <a:endParaRPr lang="en-US" sz="1200" dirty="0" smtClean="0">
                <a:solidFill>
                  <a:prstClr val="black"/>
                </a:solidFill>
                <a:latin typeface="Calibri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 smtClean="0">
                  <a:solidFill>
                    <a:prstClr val="black"/>
                  </a:solidFill>
                  <a:latin typeface="Calibri"/>
                </a:rPr>
                <a:t>     </a:t>
              </a: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5 тыс. ТО), а также</a:t>
              </a: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«Лукойл», «Газпромнефть», «Роснефть», «</a:t>
              </a:r>
              <a:r>
                <a:rPr lang="en-US" sz="1200" dirty="0" smtClean="0">
                  <a:solidFill>
                    <a:prstClr val="black"/>
                  </a:solidFill>
                  <a:latin typeface="Calibri"/>
                </a:rPr>
                <a:t>BP</a:t>
              </a: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»</a:t>
              </a:r>
              <a:r>
                <a:rPr lang="en-US" sz="1200" dirty="0" smtClean="0">
                  <a:solidFill>
                    <a:prstClr val="black"/>
                  </a:solidFill>
                  <a:latin typeface="Calibri"/>
                </a:rPr>
                <a:t> — </a:t>
              </a: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всего более 15 тыс. АЗС</a:t>
              </a: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Возмещение </a:t>
              </a:r>
              <a:r>
                <a:rPr lang="ru-RU" sz="1200" dirty="0">
                  <a:solidFill>
                    <a:prstClr val="black"/>
                  </a:solidFill>
                  <a:latin typeface="Calibri"/>
                </a:rPr>
                <a:t>НДС на сети «Петрол Плюс</a:t>
              </a: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». </a:t>
              </a:r>
            </a:p>
          </p:txBody>
        </p:sp>
        <p:sp>
          <p:nvSpPr>
            <p:cNvPr id="40" name="Скругленный прямоугольник 39"/>
            <p:cNvSpPr/>
            <p:nvPr/>
          </p:nvSpPr>
          <p:spPr>
            <a:xfrm>
              <a:off x="2771800" y="1052736"/>
              <a:ext cx="3600400" cy="1872208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323528" y="4131519"/>
            <a:ext cx="2233164" cy="1982588"/>
            <a:chOff x="323528" y="4131519"/>
            <a:chExt cx="2233164" cy="1982588"/>
          </a:xfrm>
        </p:grpSpPr>
        <p:sp>
          <p:nvSpPr>
            <p:cNvPr id="30" name="TextBox 29"/>
            <p:cNvSpPr txBox="1"/>
            <p:nvPr/>
          </p:nvSpPr>
          <p:spPr>
            <a:xfrm>
              <a:off x="414505" y="4293096"/>
              <a:ext cx="1926163" cy="18210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b="1" dirty="0" smtClean="0">
                  <a:solidFill>
                    <a:srgbClr val="2EB2A0"/>
                  </a:solidFill>
                  <a:latin typeface="Calibri"/>
                </a:rPr>
                <a:t>Кредит</a:t>
              </a:r>
              <a:endParaRPr lang="en-US" b="1" dirty="0" smtClean="0">
                <a:solidFill>
                  <a:srgbClr val="2EB2A0"/>
                </a:solidFill>
                <a:latin typeface="Calibri"/>
              </a:endParaRPr>
            </a:p>
            <a:p>
              <a:pPr algn="ctr" fontAlgn="auto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</a:pPr>
              <a:endParaRPr lang="ru-RU" b="1" dirty="0">
                <a:solidFill>
                  <a:srgbClr val="2EB2A0"/>
                </a:solidFill>
                <a:latin typeface="Calibri"/>
              </a:endParaRP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Предоставление кредита до 30 дней.</a:t>
              </a: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Принятие решения</a:t>
              </a:r>
              <a:endParaRPr lang="en-US" sz="1200" dirty="0" smtClean="0">
                <a:solidFill>
                  <a:prstClr val="black"/>
                </a:solidFill>
                <a:latin typeface="Calibri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prstClr val="black"/>
                  </a:solidFill>
                  <a:latin typeface="Calibri"/>
                </a:rPr>
                <a:t> </a:t>
              </a:r>
              <a:r>
                <a:rPr lang="en-US" sz="1200" dirty="0" smtClean="0">
                  <a:solidFill>
                    <a:prstClr val="black"/>
                  </a:solidFill>
                  <a:latin typeface="Calibri"/>
                </a:rPr>
                <a:t>    </a:t>
              </a: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о выдаче кредита</a:t>
              </a:r>
              <a:endParaRPr lang="en-US" sz="1200" dirty="0" smtClean="0">
                <a:solidFill>
                  <a:prstClr val="black"/>
                </a:solidFill>
                <a:latin typeface="Calibri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prstClr val="black"/>
                  </a:solidFill>
                  <a:latin typeface="Calibri"/>
                </a:rPr>
                <a:t> </a:t>
              </a:r>
              <a:r>
                <a:rPr lang="en-US" sz="1200" dirty="0" smtClean="0">
                  <a:solidFill>
                    <a:prstClr val="black"/>
                  </a:solidFill>
                  <a:latin typeface="Calibri"/>
                </a:rPr>
                <a:t>    </a:t>
              </a:r>
              <a:r>
                <a:rPr lang="ru-RU" sz="1200" dirty="0" smtClean="0">
                  <a:solidFill>
                    <a:prstClr val="black"/>
                  </a:solidFill>
                  <a:latin typeface="Calibri"/>
                </a:rPr>
                <a:t>за 1 день.</a:t>
              </a:r>
              <a:br>
                <a:rPr lang="ru-RU" sz="1200" dirty="0" smtClean="0">
                  <a:solidFill>
                    <a:prstClr val="black"/>
                  </a:solidFill>
                  <a:latin typeface="Calibri"/>
                </a:rPr>
              </a:br>
              <a:endParaRPr lang="ru-RU" sz="1200" dirty="0" smtClean="0">
                <a:solidFill>
                  <a:prstClr val="black"/>
                </a:solidFill>
                <a:latin typeface="Calibri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400" dirty="0" smtClean="0">
                  <a:solidFill>
                    <a:prstClr val="black"/>
                  </a:solidFill>
                  <a:latin typeface="Calibri"/>
                </a:rPr>
                <a:t> </a:t>
              </a:r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323528" y="4131519"/>
              <a:ext cx="2233164" cy="1889769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42" name="Скругленный прямоугольник 41"/>
          <p:cNvSpPr/>
          <p:nvPr/>
        </p:nvSpPr>
        <p:spPr>
          <a:xfrm>
            <a:off x="6588224" y="4131519"/>
            <a:ext cx="2233164" cy="1889769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2699792" y="4830110"/>
            <a:ext cx="3744416" cy="1407202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014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1259632" y="2204865"/>
            <a:ext cx="7416824" cy="2952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/>
            <a:r>
              <a:rPr lang="ru-RU" sz="330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  <a:endParaRPr lang="en-US" sz="330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endParaRPr lang="ru-RU" sz="24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r>
              <a:rPr lang="ru-RU" sz="24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Пресс-конференция</a:t>
            </a:r>
          </a:p>
          <a:p>
            <a:pPr algn="r"/>
            <a:endParaRPr lang="en-US" sz="24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r>
              <a:rPr lang="ru-RU" sz="24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Корпоративные расходы могут быть умными</a:t>
            </a:r>
            <a:endParaRPr lang="ru-RU" sz="2400" b="0" kern="0" dirty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r>
              <a:rPr lang="ru-RU" sz="2800" kern="0" dirty="0">
                <a:solidFill>
                  <a:prstClr val="white"/>
                </a:solidFill>
                <a:cs typeface="Arial" panose="020B0604020202020204" pitchFamily="34" charset="0"/>
              </a:rPr>
              <a:t>«Бизнес </a:t>
            </a:r>
            <a:r>
              <a:rPr lang="ru-RU" sz="2800" kern="0" dirty="0" err="1">
                <a:solidFill>
                  <a:prstClr val="white"/>
                </a:solidFill>
                <a:cs typeface="Arial" panose="020B0604020202020204" pitchFamily="34" charset="0"/>
              </a:rPr>
              <a:t>Card</a:t>
            </a:r>
            <a:r>
              <a:rPr lang="ru-RU" sz="2800" kern="0" dirty="0">
                <a:solidFill>
                  <a:prstClr val="white"/>
                </a:solidFill>
                <a:cs typeface="Arial" panose="020B0604020202020204" pitchFamily="34" charset="0"/>
              </a:rPr>
              <a:t> —уникальное решение для управления корпоративными расходами»</a:t>
            </a:r>
          </a:p>
          <a:p>
            <a:pPr algn="r"/>
            <a:endParaRPr lang="ru-RU" sz="2400" b="0" kern="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499964" y="5013176"/>
            <a:ext cx="4792116" cy="1296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ru-RU" sz="18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r>
              <a:rPr lang="ru-RU" sz="18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11 ноября 2015 г. </a:t>
            </a:r>
          </a:p>
        </p:txBody>
      </p:sp>
    </p:spTree>
    <p:extLst>
      <p:ext uri="{BB962C8B-B14F-4D97-AF65-F5344CB8AC3E}">
        <p14:creationId xmlns:p14="http://schemas.microsoft.com/office/powerpoint/2010/main" val="2856652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кубик_2.jpg"/>
          <p:cNvPicPr>
            <a:picLocks noGrp="1" noChangeAspect="1"/>
          </p:cNvPicPr>
          <p:nvPr>
            <p:ph type="pic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16" b="4316"/>
          <a:stretch>
            <a:fillRect/>
          </a:stretch>
        </p:blipFill>
        <p:spPr>
          <a:xfrm>
            <a:off x="0" y="194037"/>
            <a:ext cx="9144000" cy="3835238"/>
          </a:xfrm>
        </p:spPr>
      </p:pic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288" y="2152682"/>
            <a:ext cx="3856967" cy="2801614"/>
          </a:xfrm>
          <a:prstGeom prst="rect">
            <a:avLst/>
          </a:prstGeom>
        </p:spPr>
      </p:pic>
      <p:sp>
        <p:nvSpPr>
          <p:cNvPr id="3" name="Название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БИЗНЕС </a:t>
            </a:r>
            <a:r>
              <a:rPr lang="en-US" dirty="0" smtClean="0"/>
              <a:t>CARD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Топливная и корпоративная карта на </a:t>
            </a:r>
            <a:r>
              <a:rPr lang="ru-RU" dirty="0"/>
              <a:t>базе международной платежной системы </a:t>
            </a:r>
            <a:r>
              <a:rPr lang="en-US" dirty="0"/>
              <a:t>Visa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976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"/>
          <p:cNvSpPr/>
          <p:nvPr/>
        </p:nvSpPr>
        <p:spPr>
          <a:xfrm rot="10800000">
            <a:off x="3435057" y="3483557"/>
            <a:ext cx="2199659" cy="1141946"/>
          </a:xfrm>
          <a:custGeom>
            <a:avLst/>
            <a:gdLst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374782 w 1374782"/>
              <a:gd name="connsiteY2" fmla="*/ 397220 h 397220"/>
              <a:gd name="connsiteX3" fmla="*/ 0 w 1374782"/>
              <a:gd name="connsiteY3" fmla="*/ 397220 h 397220"/>
              <a:gd name="connsiteX4" fmla="*/ 0 w 1374782"/>
              <a:gd name="connsiteY4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0 w 1374782"/>
              <a:gd name="connsiteY3" fmla="*/ 397220 h 397220"/>
              <a:gd name="connsiteX4" fmla="*/ 0 w 1374782"/>
              <a:gd name="connsiteY4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302292 w 1374782"/>
              <a:gd name="connsiteY3" fmla="*/ 374688 h 397220"/>
              <a:gd name="connsiteX4" fmla="*/ 0 w 1374782"/>
              <a:gd name="connsiteY4" fmla="*/ 397220 h 397220"/>
              <a:gd name="connsiteX5" fmla="*/ 0 w 1374782"/>
              <a:gd name="connsiteY5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302292 w 1374782"/>
              <a:gd name="connsiteY3" fmla="*/ 374688 h 397220"/>
              <a:gd name="connsiteX4" fmla="*/ 276447 w 1374782"/>
              <a:gd name="connsiteY4" fmla="*/ 397220 h 397220"/>
              <a:gd name="connsiteX5" fmla="*/ 0 w 1374782"/>
              <a:gd name="connsiteY5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302292 w 1374782"/>
              <a:gd name="connsiteY3" fmla="*/ 374688 h 397220"/>
              <a:gd name="connsiteX4" fmla="*/ 276447 w 1374782"/>
              <a:gd name="connsiteY4" fmla="*/ 397220 h 397220"/>
              <a:gd name="connsiteX5" fmla="*/ 0 w 1374782"/>
              <a:gd name="connsiteY5" fmla="*/ 0 h 397220"/>
              <a:gd name="connsiteX0" fmla="*/ 0 w 1374782"/>
              <a:gd name="connsiteY0" fmla="*/ 80335 h 477555"/>
              <a:gd name="connsiteX1" fmla="*/ 1374782 w 1374782"/>
              <a:gd name="connsiteY1" fmla="*/ 80335 h 477555"/>
              <a:gd name="connsiteX2" fmla="*/ 1119600 w 1374782"/>
              <a:gd name="connsiteY2" fmla="*/ 466922 h 477555"/>
              <a:gd name="connsiteX3" fmla="*/ 302292 w 1374782"/>
              <a:gd name="connsiteY3" fmla="*/ 455023 h 477555"/>
              <a:gd name="connsiteX4" fmla="*/ 276447 w 1374782"/>
              <a:gd name="connsiteY4" fmla="*/ 477555 h 477555"/>
              <a:gd name="connsiteX5" fmla="*/ 0 w 1374782"/>
              <a:gd name="connsiteY5" fmla="*/ 80335 h 477555"/>
              <a:gd name="connsiteX0" fmla="*/ 0 w 1374782"/>
              <a:gd name="connsiteY0" fmla="*/ 80335 h 498820"/>
              <a:gd name="connsiteX1" fmla="*/ 1374782 w 1374782"/>
              <a:gd name="connsiteY1" fmla="*/ 80335 h 498820"/>
              <a:gd name="connsiteX2" fmla="*/ 1119600 w 1374782"/>
              <a:gd name="connsiteY2" fmla="*/ 466922 h 498820"/>
              <a:gd name="connsiteX3" fmla="*/ 302292 w 1374782"/>
              <a:gd name="connsiteY3" fmla="*/ 455023 h 498820"/>
              <a:gd name="connsiteX4" fmla="*/ 276447 w 1374782"/>
              <a:gd name="connsiteY4" fmla="*/ 498820 h 498820"/>
              <a:gd name="connsiteX5" fmla="*/ 0 w 1374782"/>
              <a:gd name="connsiteY5" fmla="*/ 80335 h 498820"/>
              <a:gd name="connsiteX0" fmla="*/ 0 w 1374782"/>
              <a:gd name="connsiteY0" fmla="*/ 80335 h 498820"/>
              <a:gd name="connsiteX1" fmla="*/ 1374782 w 1374782"/>
              <a:gd name="connsiteY1" fmla="*/ 80335 h 498820"/>
              <a:gd name="connsiteX2" fmla="*/ 1119600 w 1374782"/>
              <a:gd name="connsiteY2" fmla="*/ 466922 h 498820"/>
              <a:gd name="connsiteX3" fmla="*/ 706329 w 1374782"/>
              <a:gd name="connsiteY3" fmla="*/ 369963 h 498820"/>
              <a:gd name="connsiteX4" fmla="*/ 302292 w 1374782"/>
              <a:gd name="connsiteY4" fmla="*/ 455023 h 498820"/>
              <a:gd name="connsiteX5" fmla="*/ 276447 w 1374782"/>
              <a:gd name="connsiteY5" fmla="*/ 498820 h 498820"/>
              <a:gd name="connsiteX6" fmla="*/ 0 w 1374782"/>
              <a:gd name="connsiteY6" fmla="*/ 80335 h 498820"/>
              <a:gd name="connsiteX0" fmla="*/ 0 w 1353517"/>
              <a:gd name="connsiteY0" fmla="*/ 93066 h 469021"/>
              <a:gd name="connsiteX1" fmla="*/ 1353517 w 1353517"/>
              <a:gd name="connsiteY1" fmla="*/ 50536 h 469021"/>
              <a:gd name="connsiteX2" fmla="*/ 1098335 w 1353517"/>
              <a:gd name="connsiteY2" fmla="*/ 437123 h 469021"/>
              <a:gd name="connsiteX3" fmla="*/ 685064 w 1353517"/>
              <a:gd name="connsiteY3" fmla="*/ 340164 h 469021"/>
              <a:gd name="connsiteX4" fmla="*/ 281027 w 1353517"/>
              <a:gd name="connsiteY4" fmla="*/ 425224 h 469021"/>
              <a:gd name="connsiteX5" fmla="*/ 255182 w 1353517"/>
              <a:gd name="connsiteY5" fmla="*/ 469021 h 469021"/>
              <a:gd name="connsiteX6" fmla="*/ 0 w 1353517"/>
              <a:gd name="connsiteY6" fmla="*/ 93066 h 469021"/>
              <a:gd name="connsiteX0" fmla="*/ 0 w 1342884"/>
              <a:gd name="connsiteY0" fmla="*/ 77669 h 453624"/>
              <a:gd name="connsiteX1" fmla="*/ 1342884 w 1342884"/>
              <a:gd name="connsiteY1" fmla="*/ 88302 h 453624"/>
              <a:gd name="connsiteX2" fmla="*/ 1098335 w 1342884"/>
              <a:gd name="connsiteY2" fmla="*/ 421726 h 453624"/>
              <a:gd name="connsiteX3" fmla="*/ 685064 w 1342884"/>
              <a:gd name="connsiteY3" fmla="*/ 324767 h 453624"/>
              <a:gd name="connsiteX4" fmla="*/ 281027 w 1342884"/>
              <a:gd name="connsiteY4" fmla="*/ 409827 h 453624"/>
              <a:gd name="connsiteX5" fmla="*/ 255182 w 1342884"/>
              <a:gd name="connsiteY5" fmla="*/ 453624 h 453624"/>
              <a:gd name="connsiteX6" fmla="*/ 0 w 1342884"/>
              <a:gd name="connsiteY6" fmla="*/ 77669 h 453624"/>
              <a:gd name="connsiteX0" fmla="*/ 0 w 1342884"/>
              <a:gd name="connsiteY0" fmla="*/ 77669 h 479968"/>
              <a:gd name="connsiteX1" fmla="*/ 1342884 w 1342884"/>
              <a:gd name="connsiteY1" fmla="*/ 88302 h 479968"/>
              <a:gd name="connsiteX2" fmla="*/ 1043555 w 1342884"/>
              <a:gd name="connsiteY2" fmla="*/ 468078 h 479968"/>
              <a:gd name="connsiteX3" fmla="*/ 685064 w 1342884"/>
              <a:gd name="connsiteY3" fmla="*/ 324767 h 479968"/>
              <a:gd name="connsiteX4" fmla="*/ 281027 w 1342884"/>
              <a:gd name="connsiteY4" fmla="*/ 409827 h 479968"/>
              <a:gd name="connsiteX5" fmla="*/ 255182 w 1342884"/>
              <a:gd name="connsiteY5" fmla="*/ 453624 h 479968"/>
              <a:gd name="connsiteX6" fmla="*/ 0 w 1342884"/>
              <a:gd name="connsiteY6" fmla="*/ 77669 h 479968"/>
              <a:gd name="connsiteX0" fmla="*/ 0 w 1342884"/>
              <a:gd name="connsiteY0" fmla="*/ 77669 h 478723"/>
              <a:gd name="connsiteX1" fmla="*/ 1342884 w 1342884"/>
              <a:gd name="connsiteY1" fmla="*/ 88302 h 478723"/>
              <a:gd name="connsiteX2" fmla="*/ 1043555 w 1342884"/>
              <a:gd name="connsiteY2" fmla="*/ 468078 h 478723"/>
              <a:gd name="connsiteX3" fmla="*/ 685064 w 1342884"/>
              <a:gd name="connsiteY3" fmla="*/ 324767 h 478723"/>
              <a:gd name="connsiteX4" fmla="*/ 281027 w 1342884"/>
              <a:gd name="connsiteY4" fmla="*/ 409827 h 478723"/>
              <a:gd name="connsiteX5" fmla="*/ 255182 w 1342884"/>
              <a:gd name="connsiteY5" fmla="*/ 453624 h 478723"/>
              <a:gd name="connsiteX6" fmla="*/ 0 w 1342884"/>
              <a:gd name="connsiteY6" fmla="*/ 77669 h 478723"/>
              <a:gd name="connsiteX0" fmla="*/ 0 w 1342884"/>
              <a:gd name="connsiteY0" fmla="*/ 77669 h 478723"/>
              <a:gd name="connsiteX1" fmla="*/ 1342884 w 1342884"/>
              <a:gd name="connsiteY1" fmla="*/ 88302 h 478723"/>
              <a:gd name="connsiteX2" fmla="*/ 1043555 w 1342884"/>
              <a:gd name="connsiteY2" fmla="*/ 468078 h 478723"/>
              <a:gd name="connsiteX3" fmla="*/ 685064 w 1342884"/>
              <a:gd name="connsiteY3" fmla="*/ 324767 h 478723"/>
              <a:gd name="connsiteX4" fmla="*/ 259958 w 1342884"/>
              <a:gd name="connsiteY4" fmla="*/ 460393 h 478723"/>
              <a:gd name="connsiteX5" fmla="*/ 255182 w 1342884"/>
              <a:gd name="connsiteY5" fmla="*/ 453624 h 478723"/>
              <a:gd name="connsiteX6" fmla="*/ 0 w 1342884"/>
              <a:gd name="connsiteY6" fmla="*/ 77669 h 478723"/>
              <a:gd name="connsiteX0" fmla="*/ 0 w 1342884"/>
              <a:gd name="connsiteY0" fmla="*/ 77669 h 478723"/>
              <a:gd name="connsiteX1" fmla="*/ 1342884 w 1342884"/>
              <a:gd name="connsiteY1" fmla="*/ 88302 h 478723"/>
              <a:gd name="connsiteX2" fmla="*/ 1043555 w 1342884"/>
              <a:gd name="connsiteY2" fmla="*/ 468078 h 478723"/>
              <a:gd name="connsiteX3" fmla="*/ 685064 w 1342884"/>
              <a:gd name="connsiteY3" fmla="*/ 324767 h 478723"/>
              <a:gd name="connsiteX4" fmla="*/ 259958 w 1342884"/>
              <a:gd name="connsiteY4" fmla="*/ 460393 h 478723"/>
              <a:gd name="connsiteX5" fmla="*/ 255182 w 1342884"/>
              <a:gd name="connsiteY5" fmla="*/ 453624 h 478723"/>
              <a:gd name="connsiteX6" fmla="*/ 0 w 1342884"/>
              <a:gd name="connsiteY6" fmla="*/ 77669 h 478723"/>
              <a:gd name="connsiteX0" fmla="*/ 0 w 1186973"/>
              <a:gd name="connsiteY0" fmla="*/ 44919 h 445973"/>
              <a:gd name="connsiteX1" fmla="*/ 1186973 w 1186973"/>
              <a:gd name="connsiteY1" fmla="*/ 287312 h 445973"/>
              <a:gd name="connsiteX2" fmla="*/ 1043555 w 1186973"/>
              <a:gd name="connsiteY2" fmla="*/ 435328 h 445973"/>
              <a:gd name="connsiteX3" fmla="*/ 685064 w 1186973"/>
              <a:gd name="connsiteY3" fmla="*/ 292017 h 445973"/>
              <a:gd name="connsiteX4" fmla="*/ 259958 w 1186973"/>
              <a:gd name="connsiteY4" fmla="*/ 427643 h 445973"/>
              <a:gd name="connsiteX5" fmla="*/ 255182 w 1186973"/>
              <a:gd name="connsiteY5" fmla="*/ 420874 h 445973"/>
              <a:gd name="connsiteX6" fmla="*/ 0 w 1186973"/>
              <a:gd name="connsiteY6" fmla="*/ 44919 h 445973"/>
              <a:gd name="connsiteX0" fmla="*/ 0 w 1077414"/>
              <a:gd name="connsiteY0" fmla="*/ 78705 h 243784"/>
              <a:gd name="connsiteX1" fmla="*/ 1077414 w 1077414"/>
              <a:gd name="connsiteY1" fmla="*/ 85123 h 243784"/>
              <a:gd name="connsiteX2" fmla="*/ 933996 w 1077414"/>
              <a:gd name="connsiteY2" fmla="*/ 233139 h 243784"/>
              <a:gd name="connsiteX3" fmla="*/ 575505 w 1077414"/>
              <a:gd name="connsiteY3" fmla="*/ 89828 h 243784"/>
              <a:gd name="connsiteX4" fmla="*/ 150399 w 1077414"/>
              <a:gd name="connsiteY4" fmla="*/ 225454 h 243784"/>
              <a:gd name="connsiteX5" fmla="*/ 145623 w 1077414"/>
              <a:gd name="connsiteY5" fmla="*/ 218685 h 243784"/>
              <a:gd name="connsiteX6" fmla="*/ 0 w 1077414"/>
              <a:gd name="connsiteY6" fmla="*/ 78705 h 243784"/>
              <a:gd name="connsiteX0" fmla="*/ 0 w 1077414"/>
              <a:gd name="connsiteY0" fmla="*/ 222889 h 387968"/>
              <a:gd name="connsiteX1" fmla="*/ 1077414 w 1077414"/>
              <a:gd name="connsiteY1" fmla="*/ 229307 h 387968"/>
              <a:gd name="connsiteX2" fmla="*/ 933996 w 1077414"/>
              <a:gd name="connsiteY2" fmla="*/ 377323 h 387968"/>
              <a:gd name="connsiteX3" fmla="*/ 575505 w 1077414"/>
              <a:gd name="connsiteY3" fmla="*/ 234012 h 387968"/>
              <a:gd name="connsiteX4" fmla="*/ 150399 w 1077414"/>
              <a:gd name="connsiteY4" fmla="*/ 369638 h 387968"/>
              <a:gd name="connsiteX5" fmla="*/ 145623 w 1077414"/>
              <a:gd name="connsiteY5" fmla="*/ 362869 h 387968"/>
              <a:gd name="connsiteX6" fmla="*/ 0 w 1077414"/>
              <a:gd name="connsiteY6" fmla="*/ 222889 h 387968"/>
              <a:gd name="connsiteX0" fmla="*/ 0 w 1077414"/>
              <a:gd name="connsiteY0" fmla="*/ 270621 h 435700"/>
              <a:gd name="connsiteX1" fmla="*/ 1077414 w 1077414"/>
              <a:gd name="connsiteY1" fmla="*/ 277039 h 435700"/>
              <a:gd name="connsiteX2" fmla="*/ 933996 w 1077414"/>
              <a:gd name="connsiteY2" fmla="*/ 425055 h 435700"/>
              <a:gd name="connsiteX3" fmla="*/ 575505 w 1077414"/>
              <a:gd name="connsiteY3" fmla="*/ 281744 h 435700"/>
              <a:gd name="connsiteX4" fmla="*/ 150399 w 1077414"/>
              <a:gd name="connsiteY4" fmla="*/ 417370 h 435700"/>
              <a:gd name="connsiteX5" fmla="*/ 145623 w 1077414"/>
              <a:gd name="connsiteY5" fmla="*/ 410601 h 435700"/>
              <a:gd name="connsiteX6" fmla="*/ 0 w 1077414"/>
              <a:gd name="connsiteY6" fmla="*/ 270621 h 435700"/>
              <a:gd name="connsiteX0" fmla="*/ 0 w 1077414"/>
              <a:gd name="connsiteY0" fmla="*/ 167153 h 332232"/>
              <a:gd name="connsiteX1" fmla="*/ 1077414 w 1077414"/>
              <a:gd name="connsiteY1" fmla="*/ 173571 h 332232"/>
              <a:gd name="connsiteX2" fmla="*/ 933996 w 1077414"/>
              <a:gd name="connsiteY2" fmla="*/ 321587 h 332232"/>
              <a:gd name="connsiteX3" fmla="*/ 575505 w 1077414"/>
              <a:gd name="connsiteY3" fmla="*/ 178276 h 332232"/>
              <a:gd name="connsiteX4" fmla="*/ 150399 w 1077414"/>
              <a:gd name="connsiteY4" fmla="*/ 313902 h 332232"/>
              <a:gd name="connsiteX5" fmla="*/ 145623 w 1077414"/>
              <a:gd name="connsiteY5" fmla="*/ 307133 h 332232"/>
              <a:gd name="connsiteX6" fmla="*/ 0 w 1077414"/>
              <a:gd name="connsiteY6" fmla="*/ 167153 h 332232"/>
              <a:gd name="connsiteX0" fmla="*/ 0 w 1077414"/>
              <a:gd name="connsiteY0" fmla="*/ 218112 h 383191"/>
              <a:gd name="connsiteX1" fmla="*/ 1077414 w 1077414"/>
              <a:gd name="connsiteY1" fmla="*/ 224530 h 383191"/>
              <a:gd name="connsiteX2" fmla="*/ 933996 w 1077414"/>
              <a:gd name="connsiteY2" fmla="*/ 372546 h 383191"/>
              <a:gd name="connsiteX3" fmla="*/ 575505 w 1077414"/>
              <a:gd name="connsiteY3" fmla="*/ 229235 h 383191"/>
              <a:gd name="connsiteX4" fmla="*/ 150399 w 1077414"/>
              <a:gd name="connsiteY4" fmla="*/ 364861 h 383191"/>
              <a:gd name="connsiteX5" fmla="*/ 145623 w 1077414"/>
              <a:gd name="connsiteY5" fmla="*/ 358092 h 383191"/>
              <a:gd name="connsiteX6" fmla="*/ 0 w 1077414"/>
              <a:gd name="connsiteY6" fmla="*/ 218112 h 383191"/>
              <a:gd name="connsiteX0" fmla="*/ 0 w 1077414"/>
              <a:gd name="connsiteY0" fmla="*/ 202064 h 367143"/>
              <a:gd name="connsiteX1" fmla="*/ 1077414 w 1077414"/>
              <a:gd name="connsiteY1" fmla="*/ 208482 h 367143"/>
              <a:gd name="connsiteX2" fmla="*/ 933996 w 1077414"/>
              <a:gd name="connsiteY2" fmla="*/ 356498 h 367143"/>
              <a:gd name="connsiteX3" fmla="*/ 575505 w 1077414"/>
              <a:gd name="connsiteY3" fmla="*/ 213187 h 367143"/>
              <a:gd name="connsiteX4" fmla="*/ 150399 w 1077414"/>
              <a:gd name="connsiteY4" fmla="*/ 348813 h 367143"/>
              <a:gd name="connsiteX5" fmla="*/ 145623 w 1077414"/>
              <a:gd name="connsiteY5" fmla="*/ 342044 h 367143"/>
              <a:gd name="connsiteX6" fmla="*/ 0 w 1077414"/>
              <a:gd name="connsiteY6" fmla="*/ 202064 h 367143"/>
              <a:gd name="connsiteX0" fmla="*/ 0 w 1077414"/>
              <a:gd name="connsiteY0" fmla="*/ 202064 h 366959"/>
              <a:gd name="connsiteX1" fmla="*/ 1077414 w 1077414"/>
              <a:gd name="connsiteY1" fmla="*/ 208482 h 366959"/>
              <a:gd name="connsiteX2" fmla="*/ 933996 w 1077414"/>
              <a:gd name="connsiteY2" fmla="*/ 356498 h 366959"/>
              <a:gd name="connsiteX3" fmla="*/ 533366 w 1077414"/>
              <a:gd name="connsiteY3" fmla="*/ 208973 h 366959"/>
              <a:gd name="connsiteX4" fmla="*/ 150399 w 1077414"/>
              <a:gd name="connsiteY4" fmla="*/ 348813 h 366959"/>
              <a:gd name="connsiteX5" fmla="*/ 145623 w 1077414"/>
              <a:gd name="connsiteY5" fmla="*/ 342044 h 366959"/>
              <a:gd name="connsiteX6" fmla="*/ 0 w 1077414"/>
              <a:gd name="connsiteY6" fmla="*/ 202064 h 366959"/>
              <a:gd name="connsiteX0" fmla="*/ 0 w 1077414"/>
              <a:gd name="connsiteY0" fmla="*/ 202064 h 354891"/>
              <a:gd name="connsiteX1" fmla="*/ 1077414 w 1077414"/>
              <a:gd name="connsiteY1" fmla="*/ 208482 h 354891"/>
              <a:gd name="connsiteX2" fmla="*/ 900285 w 1077414"/>
              <a:gd name="connsiteY2" fmla="*/ 343857 h 354891"/>
              <a:gd name="connsiteX3" fmla="*/ 533366 w 1077414"/>
              <a:gd name="connsiteY3" fmla="*/ 208973 h 354891"/>
              <a:gd name="connsiteX4" fmla="*/ 150399 w 1077414"/>
              <a:gd name="connsiteY4" fmla="*/ 348813 h 354891"/>
              <a:gd name="connsiteX5" fmla="*/ 145623 w 1077414"/>
              <a:gd name="connsiteY5" fmla="*/ 342044 h 354891"/>
              <a:gd name="connsiteX6" fmla="*/ 0 w 1077414"/>
              <a:gd name="connsiteY6" fmla="*/ 202064 h 354891"/>
              <a:gd name="connsiteX0" fmla="*/ 0 w 1077414"/>
              <a:gd name="connsiteY0" fmla="*/ 202064 h 348813"/>
              <a:gd name="connsiteX1" fmla="*/ 1077414 w 1077414"/>
              <a:gd name="connsiteY1" fmla="*/ 208482 h 348813"/>
              <a:gd name="connsiteX2" fmla="*/ 900285 w 1077414"/>
              <a:gd name="connsiteY2" fmla="*/ 343857 h 348813"/>
              <a:gd name="connsiteX3" fmla="*/ 533366 w 1077414"/>
              <a:gd name="connsiteY3" fmla="*/ 208973 h 348813"/>
              <a:gd name="connsiteX4" fmla="*/ 150399 w 1077414"/>
              <a:gd name="connsiteY4" fmla="*/ 348813 h 348813"/>
              <a:gd name="connsiteX5" fmla="*/ 145623 w 1077414"/>
              <a:gd name="connsiteY5" fmla="*/ 342044 h 348813"/>
              <a:gd name="connsiteX6" fmla="*/ 0 w 1077414"/>
              <a:gd name="connsiteY6" fmla="*/ 202064 h 348813"/>
              <a:gd name="connsiteX0" fmla="*/ 0 w 1077414"/>
              <a:gd name="connsiteY0" fmla="*/ 202064 h 364926"/>
              <a:gd name="connsiteX1" fmla="*/ 1077414 w 1077414"/>
              <a:gd name="connsiteY1" fmla="*/ 208482 h 364926"/>
              <a:gd name="connsiteX2" fmla="*/ 925568 w 1077414"/>
              <a:gd name="connsiteY2" fmla="*/ 364926 h 364926"/>
              <a:gd name="connsiteX3" fmla="*/ 533366 w 1077414"/>
              <a:gd name="connsiteY3" fmla="*/ 208973 h 364926"/>
              <a:gd name="connsiteX4" fmla="*/ 150399 w 1077414"/>
              <a:gd name="connsiteY4" fmla="*/ 348813 h 364926"/>
              <a:gd name="connsiteX5" fmla="*/ 145623 w 1077414"/>
              <a:gd name="connsiteY5" fmla="*/ 342044 h 364926"/>
              <a:gd name="connsiteX6" fmla="*/ 0 w 1077414"/>
              <a:gd name="connsiteY6" fmla="*/ 202064 h 364926"/>
              <a:gd name="connsiteX0" fmla="*/ 0 w 1077414"/>
              <a:gd name="connsiteY0" fmla="*/ 202064 h 364926"/>
              <a:gd name="connsiteX1" fmla="*/ 1077414 w 1077414"/>
              <a:gd name="connsiteY1" fmla="*/ 208482 h 364926"/>
              <a:gd name="connsiteX2" fmla="*/ 925568 w 1077414"/>
              <a:gd name="connsiteY2" fmla="*/ 364926 h 364926"/>
              <a:gd name="connsiteX3" fmla="*/ 546007 w 1077414"/>
              <a:gd name="connsiteY3" fmla="*/ 225829 h 364926"/>
              <a:gd name="connsiteX4" fmla="*/ 150399 w 1077414"/>
              <a:gd name="connsiteY4" fmla="*/ 348813 h 364926"/>
              <a:gd name="connsiteX5" fmla="*/ 145623 w 1077414"/>
              <a:gd name="connsiteY5" fmla="*/ 342044 h 364926"/>
              <a:gd name="connsiteX6" fmla="*/ 0 w 1077414"/>
              <a:gd name="connsiteY6" fmla="*/ 202064 h 364926"/>
              <a:gd name="connsiteX0" fmla="*/ 0 w 1077414"/>
              <a:gd name="connsiteY0" fmla="*/ 208754 h 371616"/>
              <a:gd name="connsiteX1" fmla="*/ 1077414 w 1077414"/>
              <a:gd name="connsiteY1" fmla="*/ 215172 h 371616"/>
              <a:gd name="connsiteX2" fmla="*/ 925568 w 1077414"/>
              <a:gd name="connsiteY2" fmla="*/ 371616 h 371616"/>
              <a:gd name="connsiteX3" fmla="*/ 546007 w 1077414"/>
              <a:gd name="connsiteY3" fmla="*/ 232519 h 371616"/>
              <a:gd name="connsiteX4" fmla="*/ 150399 w 1077414"/>
              <a:gd name="connsiteY4" fmla="*/ 355503 h 371616"/>
              <a:gd name="connsiteX5" fmla="*/ 145623 w 1077414"/>
              <a:gd name="connsiteY5" fmla="*/ 348734 h 371616"/>
              <a:gd name="connsiteX6" fmla="*/ 0 w 1077414"/>
              <a:gd name="connsiteY6" fmla="*/ 208754 h 371616"/>
              <a:gd name="connsiteX0" fmla="*/ 0 w 1077414"/>
              <a:gd name="connsiteY0" fmla="*/ 212262 h 375124"/>
              <a:gd name="connsiteX1" fmla="*/ 1077414 w 1077414"/>
              <a:gd name="connsiteY1" fmla="*/ 218680 h 375124"/>
              <a:gd name="connsiteX2" fmla="*/ 925568 w 1077414"/>
              <a:gd name="connsiteY2" fmla="*/ 375124 h 375124"/>
              <a:gd name="connsiteX3" fmla="*/ 546007 w 1077414"/>
              <a:gd name="connsiteY3" fmla="*/ 236027 h 375124"/>
              <a:gd name="connsiteX4" fmla="*/ 150399 w 1077414"/>
              <a:gd name="connsiteY4" fmla="*/ 359011 h 375124"/>
              <a:gd name="connsiteX5" fmla="*/ 145623 w 1077414"/>
              <a:gd name="connsiteY5" fmla="*/ 352242 h 375124"/>
              <a:gd name="connsiteX6" fmla="*/ 0 w 1077414"/>
              <a:gd name="connsiteY6" fmla="*/ 212262 h 375124"/>
              <a:gd name="connsiteX0" fmla="*/ 0 w 1077414"/>
              <a:gd name="connsiteY0" fmla="*/ 209580 h 372442"/>
              <a:gd name="connsiteX1" fmla="*/ 1077414 w 1077414"/>
              <a:gd name="connsiteY1" fmla="*/ 215998 h 372442"/>
              <a:gd name="connsiteX2" fmla="*/ 925568 w 1077414"/>
              <a:gd name="connsiteY2" fmla="*/ 372442 h 372442"/>
              <a:gd name="connsiteX3" fmla="*/ 546007 w 1077414"/>
              <a:gd name="connsiteY3" fmla="*/ 233345 h 372442"/>
              <a:gd name="connsiteX4" fmla="*/ 150399 w 1077414"/>
              <a:gd name="connsiteY4" fmla="*/ 356329 h 372442"/>
              <a:gd name="connsiteX5" fmla="*/ 145623 w 1077414"/>
              <a:gd name="connsiteY5" fmla="*/ 349560 h 372442"/>
              <a:gd name="connsiteX6" fmla="*/ 0 w 1077414"/>
              <a:gd name="connsiteY6" fmla="*/ 209580 h 372442"/>
              <a:gd name="connsiteX0" fmla="*/ 0 w 1252979"/>
              <a:gd name="connsiteY0" fmla="*/ 151796 h 504853"/>
              <a:gd name="connsiteX1" fmla="*/ 1252979 w 1252979"/>
              <a:gd name="connsiteY1" fmla="*/ 348409 h 504853"/>
              <a:gd name="connsiteX2" fmla="*/ 1101133 w 1252979"/>
              <a:gd name="connsiteY2" fmla="*/ 504853 h 504853"/>
              <a:gd name="connsiteX3" fmla="*/ 721572 w 1252979"/>
              <a:gd name="connsiteY3" fmla="*/ 365756 h 504853"/>
              <a:gd name="connsiteX4" fmla="*/ 325964 w 1252979"/>
              <a:gd name="connsiteY4" fmla="*/ 488740 h 504853"/>
              <a:gd name="connsiteX5" fmla="*/ 321188 w 1252979"/>
              <a:gd name="connsiteY5" fmla="*/ 481971 h 504853"/>
              <a:gd name="connsiteX6" fmla="*/ 0 w 1252979"/>
              <a:gd name="connsiteY6" fmla="*/ 151796 h 504853"/>
              <a:gd name="connsiteX0" fmla="*/ 0 w 1399283"/>
              <a:gd name="connsiteY0" fmla="*/ 217020 h 570077"/>
              <a:gd name="connsiteX1" fmla="*/ 1399283 w 1399283"/>
              <a:gd name="connsiteY1" fmla="*/ 205150 h 570077"/>
              <a:gd name="connsiteX2" fmla="*/ 1101133 w 1399283"/>
              <a:gd name="connsiteY2" fmla="*/ 570077 h 570077"/>
              <a:gd name="connsiteX3" fmla="*/ 721572 w 1399283"/>
              <a:gd name="connsiteY3" fmla="*/ 430980 h 570077"/>
              <a:gd name="connsiteX4" fmla="*/ 325964 w 1399283"/>
              <a:gd name="connsiteY4" fmla="*/ 553964 h 570077"/>
              <a:gd name="connsiteX5" fmla="*/ 321188 w 1399283"/>
              <a:gd name="connsiteY5" fmla="*/ 547195 h 570077"/>
              <a:gd name="connsiteX6" fmla="*/ 0 w 1399283"/>
              <a:gd name="connsiteY6" fmla="*/ 217020 h 570077"/>
              <a:gd name="connsiteX0" fmla="*/ 0 w 1384652"/>
              <a:gd name="connsiteY0" fmla="*/ 208139 h 561196"/>
              <a:gd name="connsiteX1" fmla="*/ 1384652 w 1384652"/>
              <a:gd name="connsiteY1" fmla="*/ 218215 h 561196"/>
              <a:gd name="connsiteX2" fmla="*/ 1101133 w 1384652"/>
              <a:gd name="connsiteY2" fmla="*/ 561196 h 561196"/>
              <a:gd name="connsiteX3" fmla="*/ 721572 w 1384652"/>
              <a:gd name="connsiteY3" fmla="*/ 422099 h 561196"/>
              <a:gd name="connsiteX4" fmla="*/ 325964 w 1384652"/>
              <a:gd name="connsiteY4" fmla="*/ 545083 h 561196"/>
              <a:gd name="connsiteX5" fmla="*/ 321188 w 1384652"/>
              <a:gd name="connsiteY5" fmla="*/ 538314 h 561196"/>
              <a:gd name="connsiteX6" fmla="*/ 0 w 1384652"/>
              <a:gd name="connsiteY6" fmla="*/ 208139 h 561196"/>
              <a:gd name="connsiteX0" fmla="*/ 0 w 1399283"/>
              <a:gd name="connsiteY0" fmla="*/ 217020 h 570077"/>
              <a:gd name="connsiteX1" fmla="*/ 1399283 w 1399283"/>
              <a:gd name="connsiteY1" fmla="*/ 205150 h 570077"/>
              <a:gd name="connsiteX2" fmla="*/ 1101133 w 1399283"/>
              <a:gd name="connsiteY2" fmla="*/ 570077 h 570077"/>
              <a:gd name="connsiteX3" fmla="*/ 721572 w 1399283"/>
              <a:gd name="connsiteY3" fmla="*/ 430980 h 570077"/>
              <a:gd name="connsiteX4" fmla="*/ 325964 w 1399283"/>
              <a:gd name="connsiteY4" fmla="*/ 553964 h 570077"/>
              <a:gd name="connsiteX5" fmla="*/ 321188 w 1399283"/>
              <a:gd name="connsiteY5" fmla="*/ 547195 h 570077"/>
              <a:gd name="connsiteX6" fmla="*/ 0 w 1399283"/>
              <a:gd name="connsiteY6" fmla="*/ 217020 h 570077"/>
              <a:gd name="connsiteX0" fmla="*/ 0 w 1826795"/>
              <a:gd name="connsiteY0" fmla="*/ 121940 h 843133"/>
              <a:gd name="connsiteX1" fmla="*/ 1826795 w 1826795"/>
              <a:gd name="connsiteY1" fmla="*/ 478206 h 843133"/>
              <a:gd name="connsiteX2" fmla="*/ 1528645 w 1826795"/>
              <a:gd name="connsiteY2" fmla="*/ 843133 h 843133"/>
              <a:gd name="connsiteX3" fmla="*/ 1149084 w 1826795"/>
              <a:gd name="connsiteY3" fmla="*/ 704036 h 843133"/>
              <a:gd name="connsiteX4" fmla="*/ 753476 w 1826795"/>
              <a:gd name="connsiteY4" fmla="*/ 827020 h 843133"/>
              <a:gd name="connsiteX5" fmla="*/ 748700 w 1826795"/>
              <a:gd name="connsiteY5" fmla="*/ 820251 h 843133"/>
              <a:gd name="connsiteX6" fmla="*/ 0 w 1826795"/>
              <a:gd name="connsiteY6" fmla="*/ 121940 h 843133"/>
              <a:gd name="connsiteX0" fmla="*/ 0 w 2206806"/>
              <a:gd name="connsiteY0" fmla="*/ 217020 h 938213"/>
              <a:gd name="connsiteX1" fmla="*/ 2206806 w 2206806"/>
              <a:gd name="connsiteY1" fmla="*/ 205151 h 938213"/>
              <a:gd name="connsiteX2" fmla="*/ 1528645 w 2206806"/>
              <a:gd name="connsiteY2" fmla="*/ 938213 h 938213"/>
              <a:gd name="connsiteX3" fmla="*/ 1149084 w 2206806"/>
              <a:gd name="connsiteY3" fmla="*/ 799116 h 938213"/>
              <a:gd name="connsiteX4" fmla="*/ 753476 w 2206806"/>
              <a:gd name="connsiteY4" fmla="*/ 922100 h 938213"/>
              <a:gd name="connsiteX5" fmla="*/ 748700 w 2206806"/>
              <a:gd name="connsiteY5" fmla="*/ 915331 h 938213"/>
              <a:gd name="connsiteX6" fmla="*/ 0 w 2206806"/>
              <a:gd name="connsiteY6" fmla="*/ 217020 h 938213"/>
              <a:gd name="connsiteX0" fmla="*/ 0 w 2206806"/>
              <a:gd name="connsiteY0" fmla="*/ 367990 h 1089183"/>
              <a:gd name="connsiteX1" fmla="*/ 2206806 w 2206806"/>
              <a:gd name="connsiteY1" fmla="*/ 356121 h 1089183"/>
              <a:gd name="connsiteX2" fmla="*/ 1528645 w 2206806"/>
              <a:gd name="connsiteY2" fmla="*/ 1089183 h 1089183"/>
              <a:gd name="connsiteX3" fmla="*/ 1149084 w 2206806"/>
              <a:gd name="connsiteY3" fmla="*/ 950086 h 1089183"/>
              <a:gd name="connsiteX4" fmla="*/ 753476 w 2206806"/>
              <a:gd name="connsiteY4" fmla="*/ 1073070 h 1089183"/>
              <a:gd name="connsiteX5" fmla="*/ 748700 w 2206806"/>
              <a:gd name="connsiteY5" fmla="*/ 1066301 h 1089183"/>
              <a:gd name="connsiteX6" fmla="*/ 0 w 2206806"/>
              <a:gd name="connsiteY6" fmla="*/ 367990 h 1089183"/>
              <a:gd name="connsiteX0" fmla="*/ 0 w 2206806"/>
              <a:gd name="connsiteY0" fmla="*/ 437333 h 1158526"/>
              <a:gd name="connsiteX1" fmla="*/ 2206806 w 2206806"/>
              <a:gd name="connsiteY1" fmla="*/ 425464 h 1158526"/>
              <a:gd name="connsiteX2" fmla="*/ 1528645 w 2206806"/>
              <a:gd name="connsiteY2" fmla="*/ 1158526 h 1158526"/>
              <a:gd name="connsiteX3" fmla="*/ 1149084 w 2206806"/>
              <a:gd name="connsiteY3" fmla="*/ 1019429 h 1158526"/>
              <a:gd name="connsiteX4" fmla="*/ 753476 w 2206806"/>
              <a:gd name="connsiteY4" fmla="*/ 1142413 h 1158526"/>
              <a:gd name="connsiteX5" fmla="*/ 748700 w 2206806"/>
              <a:gd name="connsiteY5" fmla="*/ 1135644 h 1158526"/>
              <a:gd name="connsiteX6" fmla="*/ 0 w 2206806"/>
              <a:gd name="connsiteY6" fmla="*/ 437333 h 1158526"/>
              <a:gd name="connsiteX0" fmla="*/ 0 w 2206806"/>
              <a:gd name="connsiteY0" fmla="*/ 424464 h 1145657"/>
              <a:gd name="connsiteX1" fmla="*/ 2206806 w 2206806"/>
              <a:gd name="connsiteY1" fmla="*/ 412595 h 1145657"/>
              <a:gd name="connsiteX2" fmla="*/ 1528645 w 2206806"/>
              <a:gd name="connsiteY2" fmla="*/ 1145657 h 1145657"/>
              <a:gd name="connsiteX3" fmla="*/ 1149084 w 2206806"/>
              <a:gd name="connsiteY3" fmla="*/ 1006560 h 1145657"/>
              <a:gd name="connsiteX4" fmla="*/ 753476 w 2206806"/>
              <a:gd name="connsiteY4" fmla="*/ 1129544 h 1145657"/>
              <a:gd name="connsiteX5" fmla="*/ 748700 w 2206806"/>
              <a:gd name="connsiteY5" fmla="*/ 1122775 h 1145657"/>
              <a:gd name="connsiteX6" fmla="*/ 0 w 2206806"/>
              <a:gd name="connsiteY6" fmla="*/ 424464 h 11456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06806" h="1145657">
                <a:moveTo>
                  <a:pt x="0" y="424464"/>
                </a:moveTo>
                <a:cubicBezTo>
                  <a:pt x="499319" y="-95311"/>
                  <a:pt x="1685338" y="-181554"/>
                  <a:pt x="2206806" y="412595"/>
                </a:cubicBezTo>
                <a:lnTo>
                  <a:pt x="1528645" y="1145657"/>
                </a:lnTo>
                <a:cubicBezTo>
                  <a:pt x="1474416" y="1119614"/>
                  <a:pt x="1285302" y="1008543"/>
                  <a:pt x="1149084" y="1006560"/>
                </a:cubicBezTo>
                <a:cubicBezTo>
                  <a:pt x="1012866" y="1004577"/>
                  <a:pt x="873877" y="1063250"/>
                  <a:pt x="753476" y="1129544"/>
                </a:cubicBezTo>
                <a:lnTo>
                  <a:pt x="748700" y="1122775"/>
                </a:lnTo>
                <a:lnTo>
                  <a:pt x="0" y="424464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endParaRPr lang="ru-RU" sz="1797" dirty="0">
              <a:solidFill>
                <a:prstClr val="white"/>
              </a:solidFill>
            </a:endParaRPr>
          </a:p>
        </p:txBody>
      </p:sp>
      <p:sp>
        <p:nvSpPr>
          <p:cNvPr id="13" name="Прямоугольник 1"/>
          <p:cNvSpPr/>
          <p:nvPr/>
        </p:nvSpPr>
        <p:spPr>
          <a:xfrm rot="5400000">
            <a:off x="4493851" y="2414206"/>
            <a:ext cx="2199657" cy="1141945"/>
          </a:xfrm>
          <a:custGeom>
            <a:avLst/>
            <a:gdLst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374782 w 1374782"/>
              <a:gd name="connsiteY2" fmla="*/ 397220 h 397220"/>
              <a:gd name="connsiteX3" fmla="*/ 0 w 1374782"/>
              <a:gd name="connsiteY3" fmla="*/ 397220 h 397220"/>
              <a:gd name="connsiteX4" fmla="*/ 0 w 1374782"/>
              <a:gd name="connsiteY4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0 w 1374782"/>
              <a:gd name="connsiteY3" fmla="*/ 397220 h 397220"/>
              <a:gd name="connsiteX4" fmla="*/ 0 w 1374782"/>
              <a:gd name="connsiteY4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302292 w 1374782"/>
              <a:gd name="connsiteY3" fmla="*/ 374688 h 397220"/>
              <a:gd name="connsiteX4" fmla="*/ 0 w 1374782"/>
              <a:gd name="connsiteY4" fmla="*/ 397220 h 397220"/>
              <a:gd name="connsiteX5" fmla="*/ 0 w 1374782"/>
              <a:gd name="connsiteY5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302292 w 1374782"/>
              <a:gd name="connsiteY3" fmla="*/ 374688 h 397220"/>
              <a:gd name="connsiteX4" fmla="*/ 276447 w 1374782"/>
              <a:gd name="connsiteY4" fmla="*/ 397220 h 397220"/>
              <a:gd name="connsiteX5" fmla="*/ 0 w 1374782"/>
              <a:gd name="connsiteY5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302292 w 1374782"/>
              <a:gd name="connsiteY3" fmla="*/ 374688 h 397220"/>
              <a:gd name="connsiteX4" fmla="*/ 276447 w 1374782"/>
              <a:gd name="connsiteY4" fmla="*/ 397220 h 397220"/>
              <a:gd name="connsiteX5" fmla="*/ 0 w 1374782"/>
              <a:gd name="connsiteY5" fmla="*/ 0 h 397220"/>
              <a:gd name="connsiteX0" fmla="*/ 0 w 1374782"/>
              <a:gd name="connsiteY0" fmla="*/ 80335 h 477555"/>
              <a:gd name="connsiteX1" fmla="*/ 1374782 w 1374782"/>
              <a:gd name="connsiteY1" fmla="*/ 80335 h 477555"/>
              <a:gd name="connsiteX2" fmla="*/ 1119600 w 1374782"/>
              <a:gd name="connsiteY2" fmla="*/ 466922 h 477555"/>
              <a:gd name="connsiteX3" fmla="*/ 302292 w 1374782"/>
              <a:gd name="connsiteY3" fmla="*/ 455023 h 477555"/>
              <a:gd name="connsiteX4" fmla="*/ 276447 w 1374782"/>
              <a:gd name="connsiteY4" fmla="*/ 477555 h 477555"/>
              <a:gd name="connsiteX5" fmla="*/ 0 w 1374782"/>
              <a:gd name="connsiteY5" fmla="*/ 80335 h 477555"/>
              <a:gd name="connsiteX0" fmla="*/ 0 w 1374782"/>
              <a:gd name="connsiteY0" fmla="*/ 80335 h 498820"/>
              <a:gd name="connsiteX1" fmla="*/ 1374782 w 1374782"/>
              <a:gd name="connsiteY1" fmla="*/ 80335 h 498820"/>
              <a:gd name="connsiteX2" fmla="*/ 1119600 w 1374782"/>
              <a:gd name="connsiteY2" fmla="*/ 466922 h 498820"/>
              <a:gd name="connsiteX3" fmla="*/ 302292 w 1374782"/>
              <a:gd name="connsiteY3" fmla="*/ 455023 h 498820"/>
              <a:gd name="connsiteX4" fmla="*/ 276447 w 1374782"/>
              <a:gd name="connsiteY4" fmla="*/ 498820 h 498820"/>
              <a:gd name="connsiteX5" fmla="*/ 0 w 1374782"/>
              <a:gd name="connsiteY5" fmla="*/ 80335 h 498820"/>
              <a:gd name="connsiteX0" fmla="*/ 0 w 1374782"/>
              <a:gd name="connsiteY0" fmla="*/ 80335 h 498820"/>
              <a:gd name="connsiteX1" fmla="*/ 1374782 w 1374782"/>
              <a:gd name="connsiteY1" fmla="*/ 80335 h 498820"/>
              <a:gd name="connsiteX2" fmla="*/ 1119600 w 1374782"/>
              <a:gd name="connsiteY2" fmla="*/ 466922 h 498820"/>
              <a:gd name="connsiteX3" fmla="*/ 706329 w 1374782"/>
              <a:gd name="connsiteY3" fmla="*/ 369963 h 498820"/>
              <a:gd name="connsiteX4" fmla="*/ 302292 w 1374782"/>
              <a:gd name="connsiteY4" fmla="*/ 455023 h 498820"/>
              <a:gd name="connsiteX5" fmla="*/ 276447 w 1374782"/>
              <a:gd name="connsiteY5" fmla="*/ 498820 h 498820"/>
              <a:gd name="connsiteX6" fmla="*/ 0 w 1374782"/>
              <a:gd name="connsiteY6" fmla="*/ 80335 h 498820"/>
              <a:gd name="connsiteX0" fmla="*/ 0 w 1353517"/>
              <a:gd name="connsiteY0" fmla="*/ 93066 h 469021"/>
              <a:gd name="connsiteX1" fmla="*/ 1353517 w 1353517"/>
              <a:gd name="connsiteY1" fmla="*/ 50536 h 469021"/>
              <a:gd name="connsiteX2" fmla="*/ 1098335 w 1353517"/>
              <a:gd name="connsiteY2" fmla="*/ 437123 h 469021"/>
              <a:gd name="connsiteX3" fmla="*/ 685064 w 1353517"/>
              <a:gd name="connsiteY3" fmla="*/ 340164 h 469021"/>
              <a:gd name="connsiteX4" fmla="*/ 281027 w 1353517"/>
              <a:gd name="connsiteY4" fmla="*/ 425224 h 469021"/>
              <a:gd name="connsiteX5" fmla="*/ 255182 w 1353517"/>
              <a:gd name="connsiteY5" fmla="*/ 469021 h 469021"/>
              <a:gd name="connsiteX6" fmla="*/ 0 w 1353517"/>
              <a:gd name="connsiteY6" fmla="*/ 93066 h 469021"/>
              <a:gd name="connsiteX0" fmla="*/ 0 w 1342884"/>
              <a:gd name="connsiteY0" fmla="*/ 77669 h 453624"/>
              <a:gd name="connsiteX1" fmla="*/ 1342884 w 1342884"/>
              <a:gd name="connsiteY1" fmla="*/ 88302 h 453624"/>
              <a:gd name="connsiteX2" fmla="*/ 1098335 w 1342884"/>
              <a:gd name="connsiteY2" fmla="*/ 421726 h 453624"/>
              <a:gd name="connsiteX3" fmla="*/ 685064 w 1342884"/>
              <a:gd name="connsiteY3" fmla="*/ 324767 h 453624"/>
              <a:gd name="connsiteX4" fmla="*/ 281027 w 1342884"/>
              <a:gd name="connsiteY4" fmla="*/ 409827 h 453624"/>
              <a:gd name="connsiteX5" fmla="*/ 255182 w 1342884"/>
              <a:gd name="connsiteY5" fmla="*/ 453624 h 453624"/>
              <a:gd name="connsiteX6" fmla="*/ 0 w 1342884"/>
              <a:gd name="connsiteY6" fmla="*/ 77669 h 453624"/>
              <a:gd name="connsiteX0" fmla="*/ 0 w 1342884"/>
              <a:gd name="connsiteY0" fmla="*/ 77669 h 479968"/>
              <a:gd name="connsiteX1" fmla="*/ 1342884 w 1342884"/>
              <a:gd name="connsiteY1" fmla="*/ 88302 h 479968"/>
              <a:gd name="connsiteX2" fmla="*/ 1043555 w 1342884"/>
              <a:gd name="connsiteY2" fmla="*/ 468078 h 479968"/>
              <a:gd name="connsiteX3" fmla="*/ 685064 w 1342884"/>
              <a:gd name="connsiteY3" fmla="*/ 324767 h 479968"/>
              <a:gd name="connsiteX4" fmla="*/ 281027 w 1342884"/>
              <a:gd name="connsiteY4" fmla="*/ 409827 h 479968"/>
              <a:gd name="connsiteX5" fmla="*/ 255182 w 1342884"/>
              <a:gd name="connsiteY5" fmla="*/ 453624 h 479968"/>
              <a:gd name="connsiteX6" fmla="*/ 0 w 1342884"/>
              <a:gd name="connsiteY6" fmla="*/ 77669 h 479968"/>
              <a:gd name="connsiteX0" fmla="*/ 0 w 1342884"/>
              <a:gd name="connsiteY0" fmla="*/ 77669 h 478723"/>
              <a:gd name="connsiteX1" fmla="*/ 1342884 w 1342884"/>
              <a:gd name="connsiteY1" fmla="*/ 88302 h 478723"/>
              <a:gd name="connsiteX2" fmla="*/ 1043555 w 1342884"/>
              <a:gd name="connsiteY2" fmla="*/ 468078 h 478723"/>
              <a:gd name="connsiteX3" fmla="*/ 685064 w 1342884"/>
              <a:gd name="connsiteY3" fmla="*/ 324767 h 478723"/>
              <a:gd name="connsiteX4" fmla="*/ 281027 w 1342884"/>
              <a:gd name="connsiteY4" fmla="*/ 409827 h 478723"/>
              <a:gd name="connsiteX5" fmla="*/ 255182 w 1342884"/>
              <a:gd name="connsiteY5" fmla="*/ 453624 h 478723"/>
              <a:gd name="connsiteX6" fmla="*/ 0 w 1342884"/>
              <a:gd name="connsiteY6" fmla="*/ 77669 h 478723"/>
              <a:gd name="connsiteX0" fmla="*/ 0 w 1342884"/>
              <a:gd name="connsiteY0" fmla="*/ 77669 h 478723"/>
              <a:gd name="connsiteX1" fmla="*/ 1342884 w 1342884"/>
              <a:gd name="connsiteY1" fmla="*/ 88302 h 478723"/>
              <a:gd name="connsiteX2" fmla="*/ 1043555 w 1342884"/>
              <a:gd name="connsiteY2" fmla="*/ 468078 h 478723"/>
              <a:gd name="connsiteX3" fmla="*/ 685064 w 1342884"/>
              <a:gd name="connsiteY3" fmla="*/ 324767 h 478723"/>
              <a:gd name="connsiteX4" fmla="*/ 259958 w 1342884"/>
              <a:gd name="connsiteY4" fmla="*/ 460393 h 478723"/>
              <a:gd name="connsiteX5" fmla="*/ 255182 w 1342884"/>
              <a:gd name="connsiteY5" fmla="*/ 453624 h 478723"/>
              <a:gd name="connsiteX6" fmla="*/ 0 w 1342884"/>
              <a:gd name="connsiteY6" fmla="*/ 77669 h 478723"/>
              <a:gd name="connsiteX0" fmla="*/ 0 w 1342884"/>
              <a:gd name="connsiteY0" fmla="*/ 77669 h 478723"/>
              <a:gd name="connsiteX1" fmla="*/ 1342884 w 1342884"/>
              <a:gd name="connsiteY1" fmla="*/ 88302 h 478723"/>
              <a:gd name="connsiteX2" fmla="*/ 1043555 w 1342884"/>
              <a:gd name="connsiteY2" fmla="*/ 468078 h 478723"/>
              <a:gd name="connsiteX3" fmla="*/ 685064 w 1342884"/>
              <a:gd name="connsiteY3" fmla="*/ 324767 h 478723"/>
              <a:gd name="connsiteX4" fmla="*/ 259958 w 1342884"/>
              <a:gd name="connsiteY4" fmla="*/ 460393 h 478723"/>
              <a:gd name="connsiteX5" fmla="*/ 255182 w 1342884"/>
              <a:gd name="connsiteY5" fmla="*/ 453624 h 478723"/>
              <a:gd name="connsiteX6" fmla="*/ 0 w 1342884"/>
              <a:gd name="connsiteY6" fmla="*/ 77669 h 478723"/>
              <a:gd name="connsiteX0" fmla="*/ 0 w 1186973"/>
              <a:gd name="connsiteY0" fmla="*/ 44919 h 445973"/>
              <a:gd name="connsiteX1" fmla="*/ 1186973 w 1186973"/>
              <a:gd name="connsiteY1" fmla="*/ 287312 h 445973"/>
              <a:gd name="connsiteX2" fmla="*/ 1043555 w 1186973"/>
              <a:gd name="connsiteY2" fmla="*/ 435328 h 445973"/>
              <a:gd name="connsiteX3" fmla="*/ 685064 w 1186973"/>
              <a:gd name="connsiteY3" fmla="*/ 292017 h 445973"/>
              <a:gd name="connsiteX4" fmla="*/ 259958 w 1186973"/>
              <a:gd name="connsiteY4" fmla="*/ 427643 h 445973"/>
              <a:gd name="connsiteX5" fmla="*/ 255182 w 1186973"/>
              <a:gd name="connsiteY5" fmla="*/ 420874 h 445973"/>
              <a:gd name="connsiteX6" fmla="*/ 0 w 1186973"/>
              <a:gd name="connsiteY6" fmla="*/ 44919 h 445973"/>
              <a:gd name="connsiteX0" fmla="*/ 0 w 1077414"/>
              <a:gd name="connsiteY0" fmla="*/ 78705 h 243784"/>
              <a:gd name="connsiteX1" fmla="*/ 1077414 w 1077414"/>
              <a:gd name="connsiteY1" fmla="*/ 85123 h 243784"/>
              <a:gd name="connsiteX2" fmla="*/ 933996 w 1077414"/>
              <a:gd name="connsiteY2" fmla="*/ 233139 h 243784"/>
              <a:gd name="connsiteX3" fmla="*/ 575505 w 1077414"/>
              <a:gd name="connsiteY3" fmla="*/ 89828 h 243784"/>
              <a:gd name="connsiteX4" fmla="*/ 150399 w 1077414"/>
              <a:gd name="connsiteY4" fmla="*/ 225454 h 243784"/>
              <a:gd name="connsiteX5" fmla="*/ 145623 w 1077414"/>
              <a:gd name="connsiteY5" fmla="*/ 218685 h 243784"/>
              <a:gd name="connsiteX6" fmla="*/ 0 w 1077414"/>
              <a:gd name="connsiteY6" fmla="*/ 78705 h 243784"/>
              <a:gd name="connsiteX0" fmla="*/ 0 w 1077414"/>
              <a:gd name="connsiteY0" fmla="*/ 222889 h 387968"/>
              <a:gd name="connsiteX1" fmla="*/ 1077414 w 1077414"/>
              <a:gd name="connsiteY1" fmla="*/ 229307 h 387968"/>
              <a:gd name="connsiteX2" fmla="*/ 933996 w 1077414"/>
              <a:gd name="connsiteY2" fmla="*/ 377323 h 387968"/>
              <a:gd name="connsiteX3" fmla="*/ 575505 w 1077414"/>
              <a:gd name="connsiteY3" fmla="*/ 234012 h 387968"/>
              <a:gd name="connsiteX4" fmla="*/ 150399 w 1077414"/>
              <a:gd name="connsiteY4" fmla="*/ 369638 h 387968"/>
              <a:gd name="connsiteX5" fmla="*/ 145623 w 1077414"/>
              <a:gd name="connsiteY5" fmla="*/ 362869 h 387968"/>
              <a:gd name="connsiteX6" fmla="*/ 0 w 1077414"/>
              <a:gd name="connsiteY6" fmla="*/ 222889 h 387968"/>
              <a:gd name="connsiteX0" fmla="*/ 0 w 1077414"/>
              <a:gd name="connsiteY0" fmla="*/ 270621 h 435700"/>
              <a:gd name="connsiteX1" fmla="*/ 1077414 w 1077414"/>
              <a:gd name="connsiteY1" fmla="*/ 277039 h 435700"/>
              <a:gd name="connsiteX2" fmla="*/ 933996 w 1077414"/>
              <a:gd name="connsiteY2" fmla="*/ 425055 h 435700"/>
              <a:gd name="connsiteX3" fmla="*/ 575505 w 1077414"/>
              <a:gd name="connsiteY3" fmla="*/ 281744 h 435700"/>
              <a:gd name="connsiteX4" fmla="*/ 150399 w 1077414"/>
              <a:gd name="connsiteY4" fmla="*/ 417370 h 435700"/>
              <a:gd name="connsiteX5" fmla="*/ 145623 w 1077414"/>
              <a:gd name="connsiteY5" fmla="*/ 410601 h 435700"/>
              <a:gd name="connsiteX6" fmla="*/ 0 w 1077414"/>
              <a:gd name="connsiteY6" fmla="*/ 270621 h 435700"/>
              <a:gd name="connsiteX0" fmla="*/ 0 w 1077414"/>
              <a:gd name="connsiteY0" fmla="*/ 167153 h 332232"/>
              <a:gd name="connsiteX1" fmla="*/ 1077414 w 1077414"/>
              <a:gd name="connsiteY1" fmla="*/ 173571 h 332232"/>
              <a:gd name="connsiteX2" fmla="*/ 933996 w 1077414"/>
              <a:gd name="connsiteY2" fmla="*/ 321587 h 332232"/>
              <a:gd name="connsiteX3" fmla="*/ 575505 w 1077414"/>
              <a:gd name="connsiteY3" fmla="*/ 178276 h 332232"/>
              <a:gd name="connsiteX4" fmla="*/ 150399 w 1077414"/>
              <a:gd name="connsiteY4" fmla="*/ 313902 h 332232"/>
              <a:gd name="connsiteX5" fmla="*/ 145623 w 1077414"/>
              <a:gd name="connsiteY5" fmla="*/ 307133 h 332232"/>
              <a:gd name="connsiteX6" fmla="*/ 0 w 1077414"/>
              <a:gd name="connsiteY6" fmla="*/ 167153 h 332232"/>
              <a:gd name="connsiteX0" fmla="*/ 0 w 1077414"/>
              <a:gd name="connsiteY0" fmla="*/ 218112 h 383191"/>
              <a:gd name="connsiteX1" fmla="*/ 1077414 w 1077414"/>
              <a:gd name="connsiteY1" fmla="*/ 224530 h 383191"/>
              <a:gd name="connsiteX2" fmla="*/ 933996 w 1077414"/>
              <a:gd name="connsiteY2" fmla="*/ 372546 h 383191"/>
              <a:gd name="connsiteX3" fmla="*/ 575505 w 1077414"/>
              <a:gd name="connsiteY3" fmla="*/ 229235 h 383191"/>
              <a:gd name="connsiteX4" fmla="*/ 150399 w 1077414"/>
              <a:gd name="connsiteY4" fmla="*/ 364861 h 383191"/>
              <a:gd name="connsiteX5" fmla="*/ 145623 w 1077414"/>
              <a:gd name="connsiteY5" fmla="*/ 358092 h 383191"/>
              <a:gd name="connsiteX6" fmla="*/ 0 w 1077414"/>
              <a:gd name="connsiteY6" fmla="*/ 218112 h 383191"/>
              <a:gd name="connsiteX0" fmla="*/ 0 w 1077414"/>
              <a:gd name="connsiteY0" fmla="*/ 202064 h 367143"/>
              <a:gd name="connsiteX1" fmla="*/ 1077414 w 1077414"/>
              <a:gd name="connsiteY1" fmla="*/ 208482 h 367143"/>
              <a:gd name="connsiteX2" fmla="*/ 933996 w 1077414"/>
              <a:gd name="connsiteY2" fmla="*/ 356498 h 367143"/>
              <a:gd name="connsiteX3" fmla="*/ 575505 w 1077414"/>
              <a:gd name="connsiteY3" fmla="*/ 213187 h 367143"/>
              <a:gd name="connsiteX4" fmla="*/ 150399 w 1077414"/>
              <a:gd name="connsiteY4" fmla="*/ 348813 h 367143"/>
              <a:gd name="connsiteX5" fmla="*/ 145623 w 1077414"/>
              <a:gd name="connsiteY5" fmla="*/ 342044 h 367143"/>
              <a:gd name="connsiteX6" fmla="*/ 0 w 1077414"/>
              <a:gd name="connsiteY6" fmla="*/ 202064 h 367143"/>
              <a:gd name="connsiteX0" fmla="*/ 0 w 1077414"/>
              <a:gd name="connsiteY0" fmla="*/ 202064 h 366959"/>
              <a:gd name="connsiteX1" fmla="*/ 1077414 w 1077414"/>
              <a:gd name="connsiteY1" fmla="*/ 208482 h 366959"/>
              <a:gd name="connsiteX2" fmla="*/ 933996 w 1077414"/>
              <a:gd name="connsiteY2" fmla="*/ 356498 h 366959"/>
              <a:gd name="connsiteX3" fmla="*/ 533366 w 1077414"/>
              <a:gd name="connsiteY3" fmla="*/ 208973 h 366959"/>
              <a:gd name="connsiteX4" fmla="*/ 150399 w 1077414"/>
              <a:gd name="connsiteY4" fmla="*/ 348813 h 366959"/>
              <a:gd name="connsiteX5" fmla="*/ 145623 w 1077414"/>
              <a:gd name="connsiteY5" fmla="*/ 342044 h 366959"/>
              <a:gd name="connsiteX6" fmla="*/ 0 w 1077414"/>
              <a:gd name="connsiteY6" fmla="*/ 202064 h 366959"/>
              <a:gd name="connsiteX0" fmla="*/ 0 w 1077414"/>
              <a:gd name="connsiteY0" fmla="*/ 202064 h 354891"/>
              <a:gd name="connsiteX1" fmla="*/ 1077414 w 1077414"/>
              <a:gd name="connsiteY1" fmla="*/ 208482 h 354891"/>
              <a:gd name="connsiteX2" fmla="*/ 900285 w 1077414"/>
              <a:gd name="connsiteY2" fmla="*/ 343857 h 354891"/>
              <a:gd name="connsiteX3" fmla="*/ 533366 w 1077414"/>
              <a:gd name="connsiteY3" fmla="*/ 208973 h 354891"/>
              <a:gd name="connsiteX4" fmla="*/ 150399 w 1077414"/>
              <a:gd name="connsiteY4" fmla="*/ 348813 h 354891"/>
              <a:gd name="connsiteX5" fmla="*/ 145623 w 1077414"/>
              <a:gd name="connsiteY5" fmla="*/ 342044 h 354891"/>
              <a:gd name="connsiteX6" fmla="*/ 0 w 1077414"/>
              <a:gd name="connsiteY6" fmla="*/ 202064 h 354891"/>
              <a:gd name="connsiteX0" fmla="*/ 0 w 1077414"/>
              <a:gd name="connsiteY0" fmla="*/ 202064 h 348813"/>
              <a:gd name="connsiteX1" fmla="*/ 1077414 w 1077414"/>
              <a:gd name="connsiteY1" fmla="*/ 208482 h 348813"/>
              <a:gd name="connsiteX2" fmla="*/ 900285 w 1077414"/>
              <a:gd name="connsiteY2" fmla="*/ 343857 h 348813"/>
              <a:gd name="connsiteX3" fmla="*/ 533366 w 1077414"/>
              <a:gd name="connsiteY3" fmla="*/ 208973 h 348813"/>
              <a:gd name="connsiteX4" fmla="*/ 150399 w 1077414"/>
              <a:gd name="connsiteY4" fmla="*/ 348813 h 348813"/>
              <a:gd name="connsiteX5" fmla="*/ 145623 w 1077414"/>
              <a:gd name="connsiteY5" fmla="*/ 342044 h 348813"/>
              <a:gd name="connsiteX6" fmla="*/ 0 w 1077414"/>
              <a:gd name="connsiteY6" fmla="*/ 202064 h 348813"/>
              <a:gd name="connsiteX0" fmla="*/ 0 w 1077414"/>
              <a:gd name="connsiteY0" fmla="*/ 202064 h 364926"/>
              <a:gd name="connsiteX1" fmla="*/ 1077414 w 1077414"/>
              <a:gd name="connsiteY1" fmla="*/ 208482 h 364926"/>
              <a:gd name="connsiteX2" fmla="*/ 925568 w 1077414"/>
              <a:gd name="connsiteY2" fmla="*/ 364926 h 364926"/>
              <a:gd name="connsiteX3" fmla="*/ 533366 w 1077414"/>
              <a:gd name="connsiteY3" fmla="*/ 208973 h 364926"/>
              <a:gd name="connsiteX4" fmla="*/ 150399 w 1077414"/>
              <a:gd name="connsiteY4" fmla="*/ 348813 h 364926"/>
              <a:gd name="connsiteX5" fmla="*/ 145623 w 1077414"/>
              <a:gd name="connsiteY5" fmla="*/ 342044 h 364926"/>
              <a:gd name="connsiteX6" fmla="*/ 0 w 1077414"/>
              <a:gd name="connsiteY6" fmla="*/ 202064 h 364926"/>
              <a:gd name="connsiteX0" fmla="*/ 0 w 1077414"/>
              <a:gd name="connsiteY0" fmla="*/ 202064 h 364926"/>
              <a:gd name="connsiteX1" fmla="*/ 1077414 w 1077414"/>
              <a:gd name="connsiteY1" fmla="*/ 208482 h 364926"/>
              <a:gd name="connsiteX2" fmla="*/ 925568 w 1077414"/>
              <a:gd name="connsiteY2" fmla="*/ 364926 h 364926"/>
              <a:gd name="connsiteX3" fmla="*/ 546007 w 1077414"/>
              <a:gd name="connsiteY3" fmla="*/ 225829 h 364926"/>
              <a:gd name="connsiteX4" fmla="*/ 150399 w 1077414"/>
              <a:gd name="connsiteY4" fmla="*/ 348813 h 364926"/>
              <a:gd name="connsiteX5" fmla="*/ 145623 w 1077414"/>
              <a:gd name="connsiteY5" fmla="*/ 342044 h 364926"/>
              <a:gd name="connsiteX6" fmla="*/ 0 w 1077414"/>
              <a:gd name="connsiteY6" fmla="*/ 202064 h 364926"/>
              <a:gd name="connsiteX0" fmla="*/ 0 w 1077414"/>
              <a:gd name="connsiteY0" fmla="*/ 208754 h 371616"/>
              <a:gd name="connsiteX1" fmla="*/ 1077414 w 1077414"/>
              <a:gd name="connsiteY1" fmla="*/ 215172 h 371616"/>
              <a:gd name="connsiteX2" fmla="*/ 925568 w 1077414"/>
              <a:gd name="connsiteY2" fmla="*/ 371616 h 371616"/>
              <a:gd name="connsiteX3" fmla="*/ 546007 w 1077414"/>
              <a:gd name="connsiteY3" fmla="*/ 232519 h 371616"/>
              <a:gd name="connsiteX4" fmla="*/ 150399 w 1077414"/>
              <a:gd name="connsiteY4" fmla="*/ 355503 h 371616"/>
              <a:gd name="connsiteX5" fmla="*/ 145623 w 1077414"/>
              <a:gd name="connsiteY5" fmla="*/ 348734 h 371616"/>
              <a:gd name="connsiteX6" fmla="*/ 0 w 1077414"/>
              <a:gd name="connsiteY6" fmla="*/ 208754 h 371616"/>
              <a:gd name="connsiteX0" fmla="*/ 0 w 1077414"/>
              <a:gd name="connsiteY0" fmla="*/ 212262 h 375124"/>
              <a:gd name="connsiteX1" fmla="*/ 1077414 w 1077414"/>
              <a:gd name="connsiteY1" fmla="*/ 218680 h 375124"/>
              <a:gd name="connsiteX2" fmla="*/ 925568 w 1077414"/>
              <a:gd name="connsiteY2" fmla="*/ 375124 h 375124"/>
              <a:gd name="connsiteX3" fmla="*/ 546007 w 1077414"/>
              <a:gd name="connsiteY3" fmla="*/ 236027 h 375124"/>
              <a:gd name="connsiteX4" fmla="*/ 150399 w 1077414"/>
              <a:gd name="connsiteY4" fmla="*/ 359011 h 375124"/>
              <a:gd name="connsiteX5" fmla="*/ 145623 w 1077414"/>
              <a:gd name="connsiteY5" fmla="*/ 352242 h 375124"/>
              <a:gd name="connsiteX6" fmla="*/ 0 w 1077414"/>
              <a:gd name="connsiteY6" fmla="*/ 212262 h 375124"/>
              <a:gd name="connsiteX0" fmla="*/ 0 w 1077414"/>
              <a:gd name="connsiteY0" fmla="*/ 209580 h 372442"/>
              <a:gd name="connsiteX1" fmla="*/ 1077414 w 1077414"/>
              <a:gd name="connsiteY1" fmla="*/ 215998 h 372442"/>
              <a:gd name="connsiteX2" fmla="*/ 925568 w 1077414"/>
              <a:gd name="connsiteY2" fmla="*/ 372442 h 372442"/>
              <a:gd name="connsiteX3" fmla="*/ 546007 w 1077414"/>
              <a:gd name="connsiteY3" fmla="*/ 233345 h 372442"/>
              <a:gd name="connsiteX4" fmla="*/ 150399 w 1077414"/>
              <a:gd name="connsiteY4" fmla="*/ 356329 h 372442"/>
              <a:gd name="connsiteX5" fmla="*/ 145623 w 1077414"/>
              <a:gd name="connsiteY5" fmla="*/ 349560 h 372442"/>
              <a:gd name="connsiteX6" fmla="*/ 0 w 1077414"/>
              <a:gd name="connsiteY6" fmla="*/ 209580 h 372442"/>
              <a:gd name="connsiteX0" fmla="*/ 0 w 1252979"/>
              <a:gd name="connsiteY0" fmla="*/ 151796 h 504853"/>
              <a:gd name="connsiteX1" fmla="*/ 1252979 w 1252979"/>
              <a:gd name="connsiteY1" fmla="*/ 348409 h 504853"/>
              <a:gd name="connsiteX2" fmla="*/ 1101133 w 1252979"/>
              <a:gd name="connsiteY2" fmla="*/ 504853 h 504853"/>
              <a:gd name="connsiteX3" fmla="*/ 721572 w 1252979"/>
              <a:gd name="connsiteY3" fmla="*/ 365756 h 504853"/>
              <a:gd name="connsiteX4" fmla="*/ 325964 w 1252979"/>
              <a:gd name="connsiteY4" fmla="*/ 488740 h 504853"/>
              <a:gd name="connsiteX5" fmla="*/ 321188 w 1252979"/>
              <a:gd name="connsiteY5" fmla="*/ 481971 h 504853"/>
              <a:gd name="connsiteX6" fmla="*/ 0 w 1252979"/>
              <a:gd name="connsiteY6" fmla="*/ 151796 h 504853"/>
              <a:gd name="connsiteX0" fmla="*/ 0 w 1399283"/>
              <a:gd name="connsiteY0" fmla="*/ 217020 h 570077"/>
              <a:gd name="connsiteX1" fmla="*/ 1399283 w 1399283"/>
              <a:gd name="connsiteY1" fmla="*/ 205150 h 570077"/>
              <a:gd name="connsiteX2" fmla="*/ 1101133 w 1399283"/>
              <a:gd name="connsiteY2" fmla="*/ 570077 h 570077"/>
              <a:gd name="connsiteX3" fmla="*/ 721572 w 1399283"/>
              <a:gd name="connsiteY3" fmla="*/ 430980 h 570077"/>
              <a:gd name="connsiteX4" fmla="*/ 325964 w 1399283"/>
              <a:gd name="connsiteY4" fmla="*/ 553964 h 570077"/>
              <a:gd name="connsiteX5" fmla="*/ 321188 w 1399283"/>
              <a:gd name="connsiteY5" fmla="*/ 547195 h 570077"/>
              <a:gd name="connsiteX6" fmla="*/ 0 w 1399283"/>
              <a:gd name="connsiteY6" fmla="*/ 217020 h 570077"/>
              <a:gd name="connsiteX0" fmla="*/ 0 w 1384652"/>
              <a:gd name="connsiteY0" fmla="*/ 208139 h 561196"/>
              <a:gd name="connsiteX1" fmla="*/ 1384652 w 1384652"/>
              <a:gd name="connsiteY1" fmla="*/ 218215 h 561196"/>
              <a:gd name="connsiteX2" fmla="*/ 1101133 w 1384652"/>
              <a:gd name="connsiteY2" fmla="*/ 561196 h 561196"/>
              <a:gd name="connsiteX3" fmla="*/ 721572 w 1384652"/>
              <a:gd name="connsiteY3" fmla="*/ 422099 h 561196"/>
              <a:gd name="connsiteX4" fmla="*/ 325964 w 1384652"/>
              <a:gd name="connsiteY4" fmla="*/ 545083 h 561196"/>
              <a:gd name="connsiteX5" fmla="*/ 321188 w 1384652"/>
              <a:gd name="connsiteY5" fmla="*/ 538314 h 561196"/>
              <a:gd name="connsiteX6" fmla="*/ 0 w 1384652"/>
              <a:gd name="connsiteY6" fmla="*/ 208139 h 561196"/>
              <a:gd name="connsiteX0" fmla="*/ 0 w 1399283"/>
              <a:gd name="connsiteY0" fmla="*/ 217020 h 570077"/>
              <a:gd name="connsiteX1" fmla="*/ 1399283 w 1399283"/>
              <a:gd name="connsiteY1" fmla="*/ 205150 h 570077"/>
              <a:gd name="connsiteX2" fmla="*/ 1101133 w 1399283"/>
              <a:gd name="connsiteY2" fmla="*/ 570077 h 570077"/>
              <a:gd name="connsiteX3" fmla="*/ 721572 w 1399283"/>
              <a:gd name="connsiteY3" fmla="*/ 430980 h 570077"/>
              <a:gd name="connsiteX4" fmla="*/ 325964 w 1399283"/>
              <a:gd name="connsiteY4" fmla="*/ 553964 h 570077"/>
              <a:gd name="connsiteX5" fmla="*/ 321188 w 1399283"/>
              <a:gd name="connsiteY5" fmla="*/ 547195 h 570077"/>
              <a:gd name="connsiteX6" fmla="*/ 0 w 1399283"/>
              <a:gd name="connsiteY6" fmla="*/ 217020 h 570077"/>
              <a:gd name="connsiteX0" fmla="*/ 0 w 1826795"/>
              <a:gd name="connsiteY0" fmla="*/ 121940 h 843133"/>
              <a:gd name="connsiteX1" fmla="*/ 1826795 w 1826795"/>
              <a:gd name="connsiteY1" fmla="*/ 478206 h 843133"/>
              <a:gd name="connsiteX2" fmla="*/ 1528645 w 1826795"/>
              <a:gd name="connsiteY2" fmla="*/ 843133 h 843133"/>
              <a:gd name="connsiteX3" fmla="*/ 1149084 w 1826795"/>
              <a:gd name="connsiteY3" fmla="*/ 704036 h 843133"/>
              <a:gd name="connsiteX4" fmla="*/ 753476 w 1826795"/>
              <a:gd name="connsiteY4" fmla="*/ 827020 h 843133"/>
              <a:gd name="connsiteX5" fmla="*/ 748700 w 1826795"/>
              <a:gd name="connsiteY5" fmla="*/ 820251 h 843133"/>
              <a:gd name="connsiteX6" fmla="*/ 0 w 1826795"/>
              <a:gd name="connsiteY6" fmla="*/ 121940 h 843133"/>
              <a:gd name="connsiteX0" fmla="*/ 0 w 2206806"/>
              <a:gd name="connsiteY0" fmla="*/ 217020 h 938213"/>
              <a:gd name="connsiteX1" fmla="*/ 2206806 w 2206806"/>
              <a:gd name="connsiteY1" fmla="*/ 205151 h 938213"/>
              <a:gd name="connsiteX2" fmla="*/ 1528645 w 2206806"/>
              <a:gd name="connsiteY2" fmla="*/ 938213 h 938213"/>
              <a:gd name="connsiteX3" fmla="*/ 1149084 w 2206806"/>
              <a:gd name="connsiteY3" fmla="*/ 799116 h 938213"/>
              <a:gd name="connsiteX4" fmla="*/ 753476 w 2206806"/>
              <a:gd name="connsiteY4" fmla="*/ 922100 h 938213"/>
              <a:gd name="connsiteX5" fmla="*/ 748700 w 2206806"/>
              <a:gd name="connsiteY5" fmla="*/ 915331 h 938213"/>
              <a:gd name="connsiteX6" fmla="*/ 0 w 2206806"/>
              <a:gd name="connsiteY6" fmla="*/ 217020 h 938213"/>
              <a:gd name="connsiteX0" fmla="*/ 0 w 2206806"/>
              <a:gd name="connsiteY0" fmla="*/ 367990 h 1089183"/>
              <a:gd name="connsiteX1" fmla="*/ 2206806 w 2206806"/>
              <a:gd name="connsiteY1" fmla="*/ 356121 h 1089183"/>
              <a:gd name="connsiteX2" fmla="*/ 1528645 w 2206806"/>
              <a:gd name="connsiteY2" fmla="*/ 1089183 h 1089183"/>
              <a:gd name="connsiteX3" fmla="*/ 1149084 w 2206806"/>
              <a:gd name="connsiteY3" fmla="*/ 950086 h 1089183"/>
              <a:gd name="connsiteX4" fmla="*/ 753476 w 2206806"/>
              <a:gd name="connsiteY4" fmla="*/ 1073070 h 1089183"/>
              <a:gd name="connsiteX5" fmla="*/ 748700 w 2206806"/>
              <a:gd name="connsiteY5" fmla="*/ 1066301 h 1089183"/>
              <a:gd name="connsiteX6" fmla="*/ 0 w 2206806"/>
              <a:gd name="connsiteY6" fmla="*/ 367990 h 1089183"/>
              <a:gd name="connsiteX0" fmla="*/ 0 w 2206806"/>
              <a:gd name="connsiteY0" fmla="*/ 437333 h 1158526"/>
              <a:gd name="connsiteX1" fmla="*/ 2206806 w 2206806"/>
              <a:gd name="connsiteY1" fmla="*/ 425464 h 1158526"/>
              <a:gd name="connsiteX2" fmla="*/ 1528645 w 2206806"/>
              <a:gd name="connsiteY2" fmla="*/ 1158526 h 1158526"/>
              <a:gd name="connsiteX3" fmla="*/ 1149084 w 2206806"/>
              <a:gd name="connsiteY3" fmla="*/ 1019429 h 1158526"/>
              <a:gd name="connsiteX4" fmla="*/ 753476 w 2206806"/>
              <a:gd name="connsiteY4" fmla="*/ 1142413 h 1158526"/>
              <a:gd name="connsiteX5" fmla="*/ 748700 w 2206806"/>
              <a:gd name="connsiteY5" fmla="*/ 1135644 h 1158526"/>
              <a:gd name="connsiteX6" fmla="*/ 0 w 2206806"/>
              <a:gd name="connsiteY6" fmla="*/ 437333 h 1158526"/>
              <a:gd name="connsiteX0" fmla="*/ 0 w 2206806"/>
              <a:gd name="connsiteY0" fmla="*/ 424464 h 1145657"/>
              <a:gd name="connsiteX1" fmla="*/ 2206806 w 2206806"/>
              <a:gd name="connsiteY1" fmla="*/ 412595 h 1145657"/>
              <a:gd name="connsiteX2" fmla="*/ 1528645 w 2206806"/>
              <a:gd name="connsiteY2" fmla="*/ 1145657 h 1145657"/>
              <a:gd name="connsiteX3" fmla="*/ 1149084 w 2206806"/>
              <a:gd name="connsiteY3" fmla="*/ 1006560 h 1145657"/>
              <a:gd name="connsiteX4" fmla="*/ 753476 w 2206806"/>
              <a:gd name="connsiteY4" fmla="*/ 1129544 h 1145657"/>
              <a:gd name="connsiteX5" fmla="*/ 748700 w 2206806"/>
              <a:gd name="connsiteY5" fmla="*/ 1122775 h 1145657"/>
              <a:gd name="connsiteX6" fmla="*/ 0 w 2206806"/>
              <a:gd name="connsiteY6" fmla="*/ 424464 h 11456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06806" h="1145657">
                <a:moveTo>
                  <a:pt x="0" y="424464"/>
                </a:moveTo>
                <a:cubicBezTo>
                  <a:pt x="499319" y="-95311"/>
                  <a:pt x="1685338" y="-181554"/>
                  <a:pt x="2206806" y="412595"/>
                </a:cubicBezTo>
                <a:lnTo>
                  <a:pt x="1528645" y="1145657"/>
                </a:lnTo>
                <a:cubicBezTo>
                  <a:pt x="1474416" y="1119614"/>
                  <a:pt x="1285302" y="1008543"/>
                  <a:pt x="1149084" y="1006560"/>
                </a:cubicBezTo>
                <a:cubicBezTo>
                  <a:pt x="1012866" y="1004577"/>
                  <a:pt x="873877" y="1063250"/>
                  <a:pt x="753476" y="1129544"/>
                </a:cubicBezTo>
                <a:lnTo>
                  <a:pt x="748700" y="1122775"/>
                </a:lnTo>
                <a:lnTo>
                  <a:pt x="0" y="424464"/>
                </a:lnTo>
                <a:close/>
              </a:path>
            </a:pathLst>
          </a:custGeom>
          <a:solidFill>
            <a:srgbClr val="00BB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369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нет-</a:t>
            </a:r>
          </a:p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369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</a:t>
            </a:r>
          </a:p>
        </p:txBody>
      </p:sp>
      <p:sp>
        <p:nvSpPr>
          <p:cNvPr id="12" name="Прямоугольник 1"/>
          <p:cNvSpPr/>
          <p:nvPr/>
        </p:nvSpPr>
        <p:spPr>
          <a:xfrm rot="16200000">
            <a:off x="2335228" y="2446088"/>
            <a:ext cx="2199659" cy="1141946"/>
          </a:xfrm>
          <a:custGeom>
            <a:avLst/>
            <a:gdLst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374782 w 1374782"/>
              <a:gd name="connsiteY2" fmla="*/ 397220 h 397220"/>
              <a:gd name="connsiteX3" fmla="*/ 0 w 1374782"/>
              <a:gd name="connsiteY3" fmla="*/ 397220 h 397220"/>
              <a:gd name="connsiteX4" fmla="*/ 0 w 1374782"/>
              <a:gd name="connsiteY4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0 w 1374782"/>
              <a:gd name="connsiteY3" fmla="*/ 397220 h 397220"/>
              <a:gd name="connsiteX4" fmla="*/ 0 w 1374782"/>
              <a:gd name="connsiteY4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302292 w 1374782"/>
              <a:gd name="connsiteY3" fmla="*/ 374688 h 397220"/>
              <a:gd name="connsiteX4" fmla="*/ 0 w 1374782"/>
              <a:gd name="connsiteY4" fmla="*/ 397220 h 397220"/>
              <a:gd name="connsiteX5" fmla="*/ 0 w 1374782"/>
              <a:gd name="connsiteY5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302292 w 1374782"/>
              <a:gd name="connsiteY3" fmla="*/ 374688 h 397220"/>
              <a:gd name="connsiteX4" fmla="*/ 276447 w 1374782"/>
              <a:gd name="connsiteY4" fmla="*/ 397220 h 397220"/>
              <a:gd name="connsiteX5" fmla="*/ 0 w 1374782"/>
              <a:gd name="connsiteY5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302292 w 1374782"/>
              <a:gd name="connsiteY3" fmla="*/ 374688 h 397220"/>
              <a:gd name="connsiteX4" fmla="*/ 276447 w 1374782"/>
              <a:gd name="connsiteY4" fmla="*/ 397220 h 397220"/>
              <a:gd name="connsiteX5" fmla="*/ 0 w 1374782"/>
              <a:gd name="connsiteY5" fmla="*/ 0 h 397220"/>
              <a:gd name="connsiteX0" fmla="*/ 0 w 1374782"/>
              <a:gd name="connsiteY0" fmla="*/ 80335 h 477555"/>
              <a:gd name="connsiteX1" fmla="*/ 1374782 w 1374782"/>
              <a:gd name="connsiteY1" fmla="*/ 80335 h 477555"/>
              <a:gd name="connsiteX2" fmla="*/ 1119600 w 1374782"/>
              <a:gd name="connsiteY2" fmla="*/ 466922 h 477555"/>
              <a:gd name="connsiteX3" fmla="*/ 302292 w 1374782"/>
              <a:gd name="connsiteY3" fmla="*/ 455023 h 477555"/>
              <a:gd name="connsiteX4" fmla="*/ 276447 w 1374782"/>
              <a:gd name="connsiteY4" fmla="*/ 477555 h 477555"/>
              <a:gd name="connsiteX5" fmla="*/ 0 w 1374782"/>
              <a:gd name="connsiteY5" fmla="*/ 80335 h 477555"/>
              <a:gd name="connsiteX0" fmla="*/ 0 w 1374782"/>
              <a:gd name="connsiteY0" fmla="*/ 80335 h 498820"/>
              <a:gd name="connsiteX1" fmla="*/ 1374782 w 1374782"/>
              <a:gd name="connsiteY1" fmla="*/ 80335 h 498820"/>
              <a:gd name="connsiteX2" fmla="*/ 1119600 w 1374782"/>
              <a:gd name="connsiteY2" fmla="*/ 466922 h 498820"/>
              <a:gd name="connsiteX3" fmla="*/ 302292 w 1374782"/>
              <a:gd name="connsiteY3" fmla="*/ 455023 h 498820"/>
              <a:gd name="connsiteX4" fmla="*/ 276447 w 1374782"/>
              <a:gd name="connsiteY4" fmla="*/ 498820 h 498820"/>
              <a:gd name="connsiteX5" fmla="*/ 0 w 1374782"/>
              <a:gd name="connsiteY5" fmla="*/ 80335 h 498820"/>
              <a:gd name="connsiteX0" fmla="*/ 0 w 1374782"/>
              <a:gd name="connsiteY0" fmla="*/ 80335 h 498820"/>
              <a:gd name="connsiteX1" fmla="*/ 1374782 w 1374782"/>
              <a:gd name="connsiteY1" fmla="*/ 80335 h 498820"/>
              <a:gd name="connsiteX2" fmla="*/ 1119600 w 1374782"/>
              <a:gd name="connsiteY2" fmla="*/ 466922 h 498820"/>
              <a:gd name="connsiteX3" fmla="*/ 706329 w 1374782"/>
              <a:gd name="connsiteY3" fmla="*/ 369963 h 498820"/>
              <a:gd name="connsiteX4" fmla="*/ 302292 w 1374782"/>
              <a:gd name="connsiteY4" fmla="*/ 455023 h 498820"/>
              <a:gd name="connsiteX5" fmla="*/ 276447 w 1374782"/>
              <a:gd name="connsiteY5" fmla="*/ 498820 h 498820"/>
              <a:gd name="connsiteX6" fmla="*/ 0 w 1374782"/>
              <a:gd name="connsiteY6" fmla="*/ 80335 h 498820"/>
              <a:gd name="connsiteX0" fmla="*/ 0 w 1353517"/>
              <a:gd name="connsiteY0" fmla="*/ 93066 h 469021"/>
              <a:gd name="connsiteX1" fmla="*/ 1353517 w 1353517"/>
              <a:gd name="connsiteY1" fmla="*/ 50536 h 469021"/>
              <a:gd name="connsiteX2" fmla="*/ 1098335 w 1353517"/>
              <a:gd name="connsiteY2" fmla="*/ 437123 h 469021"/>
              <a:gd name="connsiteX3" fmla="*/ 685064 w 1353517"/>
              <a:gd name="connsiteY3" fmla="*/ 340164 h 469021"/>
              <a:gd name="connsiteX4" fmla="*/ 281027 w 1353517"/>
              <a:gd name="connsiteY4" fmla="*/ 425224 h 469021"/>
              <a:gd name="connsiteX5" fmla="*/ 255182 w 1353517"/>
              <a:gd name="connsiteY5" fmla="*/ 469021 h 469021"/>
              <a:gd name="connsiteX6" fmla="*/ 0 w 1353517"/>
              <a:gd name="connsiteY6" fmla="*/ 93066 h 469021"/>
              <a:gd name="connsiteX0" fmla="*/ 0 w 1342884"/>
              <a:gd name="connsiteY0" fmla="*/ 77669 h 453624"/>
              <a:gd name="connsiteX1" fmla="*/ 1342884 w 1342884"/>
              <a:gd name="connsiteY1" fmla="*/ 88302 h 453624"/>
              <a:gd name="connsiteX2" fmla="*/ 1098335 w 1342884"/>
              <a:gd name="connsiteY2" fmla="*/ 421726 h 453624"/>
              <a:gd name="connsiteX3" fmla="*/ 685064 w 1342884"/>
              <a:gd name="connsiteY3" fmla="*/ 324767 h 453624"/>
              <a:gd name="connsiteX4" fmla="*/ 281027 w 1342884"/>
              <a:gd name="connsiteY4" fmla="*/ 409827 h 453624"/>
              <a:gd name="connsiteX5" fmla="*/ 255182 w 1342884"/>
              <a:gd name="connsiteY5" fmla="*/ 453624 h 453624"/>
              <a:gd name="connsiteX6" fmla="*/ 0 w 1342884"/>
              <a:gd name="connsiteY6" fmla="*/ 77669 h 453624"/>
              <a:gd name="connsiteX0" fmla="*/ 0 w 1342884"/>
              <a:gd name="connsiteY0" fmla="*/ 77669 h 479968"/>
              <a:gd name="connsiteX1" fmla="*/ 1342884 w 1342884"/>
              <a:gd name="connsiteY1" fmla="*/ 88302 h 479968"/>
              <a:gd name="connsiteX2" fmla="*/ 1043555 w 1342884"/>
              <a:gd name="connsiteY2" fmla="*/ 468078 h 479968"/>
              <a:gd name="connsiteX3" fmla="*/ 685064 w 1342884"/>
              <a:gd name="connsiteY3" fmla="*/ 324767 h 479968"/>
              <a:gd name="connsiteX4" fmla="*/ 281027 w 1342884"/>
              <a:gd name="connsiteY4" fmla="*/ 409827 h 479968"/>
              <a:gd name="connsiteX5" fmla="*/ 255182 w 1342884"/>
              <a:gd name="connsiteY5" fmla="*/ 453624 h 479968"/>
              <a:gd name="connsiteX6" fmla="*/ 0 w 1342884"/>
              <a:gd name="connsiteY6" fmla="*/ 77669 h 479968"/>
              <a:gd name="connsiteX0" fmla="*/ 0 w 1342884"/>
              <a:gd name="connsiteY0" fmla="*/ 77669 h 478723"/>
              <a:gd name="connsiteX1" fmla="*/ 1342884 w 1342884"/>
              <a:gd name="connsiteY1" fmla="*/ 88302 h 478723"/>
              <a:gd name="connsiteX2" fmla="*/ 1043555 w 1342884"/>
              <a:gd name="connsiteY2" fmla="*/ 468078 h 478723"/>
              <a:gd name="connsiteX3" fmla="*/ 685064 w 1342884"/>
              <a:gd name="connsiteY3" fmla="*/ 324767 h 478723"/>
              <a:gd name="connsiteX4" fmla="*/ 281027 w 1342884"/>
              <a:gd name="connsiteY4" fmla="*/ 409827 h 478723"/>
              <a:gd name="connsiteX5" fmla="*/ 255182 w 1342884"/>
              <a:gd name="connsiteY5" fmla="*/ 453624 h 478723"/>
              <a:gd name="connsiteX6" fmla="*/ 0 w 1342884"/>
              <a:gd name="connsiteY6" fmla="*/ 77669 h 478723"/>
              <a:gd name="connsiteX0" fmla="*/ 0 w 1342884"/>
              <a:gd name="connsiteY0" fmla="*/ 77669 h 478723"/>
              <a:gd name="connsiteX1" fmla="*/ 1342884 w 1342884"/>
              <a:gd name="connsiteY1" fmla="*/ 88302 h 478723"/>
              <a:gd name="connsiteX2" fmla="*/ 1043555 w 1342884"/>
              <a:gd name="connsiteY2" fmla="*/ 468078 h 478723"/>
              <a:gd name="connsiteX3" fmla="*/ 685064 w 1342884"/>
              <a:gd name="connsiteY3" fmla="*/ 324767 h 478723"/>
              <a:gd name="connsiteX4" fmla="*/ 259958 w 1342884"/>
              <a:gd name="connsiteY4" fmla="*/ 460393 h 478723"/>
              <a:gd name="connsiteX5" fmla="*/ 255182 w 1342884"/>
              <a:gd name="connsiteY5" fmla="*/ 453624 h 478723"/>
              <a:gd name="connsiteX6" fmla="*/ 0 w 1342884"/>
              <a:gd name="connsiteY6" fmla="*/ 77669 h 478723"/>
              <a:gd name="connsiteX0" fmla="*/ 0 w 1342884"/>
              <a:gd name="connsiteY0" fmla="*/ 77669 h 478723"/>
              <a:gd name="connsiteX1" fmla="*/ 1342884 w 1342884"/>
              <a:gd name="connsiteY1" fmla="*/ 88302 h 478723"/>
              <a:gd name="connsiteX2" fmla="*/ 1043555 w 1342884"/>
              <a:gd name="connsiteY2" fmla="*/ 468078 h 478723"/>
              <a:gd name="connsiteX3" fmla="*/ 685064 w 1342884"/>
              <a:gd name="connsiteY3" fmla="*/ 324767 h 478723"/>
              <a:gd name="connsiteX4" fmla="*/ 259958 w 1342884"/>
              <a:gd name="connsiteY4" fmla="*/ 460393 h 478723"/>
              <a:gd name="connsiteX5" fmla="*/ 255182 w 1342884"/>
              <a:gd name="connsiteY5" fmla="*/ 453624 h 478723"/>
              <a:gd name="connsiteX6" fmla="*/ 0 w 1342884"/>
              <a:gd name="connsiteY6" fmla="*/ 77669 h 478723"/>
              <a:gd name="connsiteX0" fmla="*/ 0 w 1186973"/>
              <a:gd name="connsiteY0" fmla="*/ 44919 h 445973"/>
              <a:gd name="connsiteX1" fmla="*/ 1186973 w 1186973"/>
              <a:gd name="connsiteY1" fmla="*/ 287312 h 445973"/>
              <a:gd name="connsiteX2" fmla="*/ 1043555 w 1186973"/>
              <a:gd name="connsiteY2" fmla="*/ 435328 h 445973"/>
              <a:gd name="connsiteX3" fmla="*/ 685064 w 1186973"/>
              <a:gd name="connsiteY3" fmla="*/ 292017 h 445973"/>
              <a:gd name="connsiteX4" fmla="*/ 259958 w 1186973"/>
              <a:gd name="connsiteY4" fmla="*/ 427643 h 445973"/>
              <a:gd name="connsiteX5" fmla="*/ 255182 w 1186973"/>
              <a:gd name="connsiteY5" fmla="*/ 420874 h 445973"/>
              <a:gd name="connsiteX6" fmla="*/ 0 w 1186973"/>
              <a:gd name="connsiteY6" fmla="*/ 44919 h 445973"/>
              <a:gd name="connsiteX0" fmla="*/ 0 w 1077414"/>
              <a:gd name="connsiteY0" fmla="*/ 78705 h 243784"/>
              <a:gd name="connsiteX1" fmla="*/ 1077414 w 1077414"/>
              <a:gd name="connsiteY1" fmla="*/ 85123 h 243784"/>
              <a:gd name="connsiteX2" fmla="*/ 933996 w 1077414"/>
              <a:gd name="connsiteY2" fmla="*/ 233139 h 243784"/>
              <a:gd name="connsiteX3" fmla="*/ 575505 w 1077414"/>
              <a:gd name="connsiteY3" fmla="*/ 89828 h 243784"/>
              <a:gd name="connsiteX4" fmla="*/ 150399 w 1077414"/>
              <a:gd name="connsiteY4" fmla="*/ 225454 h 243784"/>
              <a:gd name="connsiteX5" fmla="*/ 145623 w 1077414"/>
              <a:gd name="connsiteY5" fmla="*/ 218685 h 243784"/>
              <a:gd name="connsiteX6" fmla="*/ 0 w 1077414"/>
              <a:gd name="connsiteY6" fmla="*/ 78705 h 243784"/>
              <a:gd name="connsiteX0" fmla="*/ 0 w 1077414"/>
              <a:gd name="connsiteY0" fmla="*/ 222889 h 387968"/>
              <a:gd name="connsiteX1" fmla="*/ 1077414 w 1077414"/>
              <a:gd name="connsiteY1" fmla="*/ 229307 h 387968"/>
              <a:gd name="connsiteX2" fmla="*/ 933996 w 1077414"/>
              <a:gd name="connsiteY2" fmla="*/ 377323 h 387968"/>
              <a:gd name="connsiteX3" fmla="*/ 575505 w 1077414"/>
              <a:gd name="connsiteY3" fmla="*/ 234012 h 387968"/>
              <a:gd name="connsiteX4" fmla="*/ 150399 w 1077414"/>
              <a:gd name="connsiteY4" fmla="*/ 369638 h 387968"/>
              <a:gd name="connsiteX5" fmla="*/ 145623 w 1077414"/>
              <a:gd name="connsiteY5" fmla="*/ 362869 h 387968"/>
              <a:gd name="connsiteX6" fmla="*/ 0 w 1077414"/>
              <a:gd name="connsiteY6" fmla="*/ 222889 h 387968"/>
              <a:gd name="connsiteX0" fmla="*/ 0 w 1077414"/>
              <a:gd name="connsiteY0" fmla="*/ 270621 h 435700"/>
              <a:gd name="connsiteX1" fmla="*/ 1077414 w 1077414"/>
              <a:gd name="connsiteY1" fmla="*/ 277039 h 435700"/>
              <a:gd name="connsiteX2" fmla="*/ 933996 w 1077414"/>
              <a:gd name="connsiteY2" fmla="*/ 425055 h 435700"/>
              <a:gd name="connsiteX3" fmla="*/ 575505 w 1077414"/>
              <a:gd name="connsiteY3" fmla="*/ 281744 h 435700"/>
              <a:gd name="connsiteX4" fmla="*/ 150399 w 1077414"/>
              <a:gd name="connsiteY4" fmla="*/ 417370 h 435700"/>
              <a:gd name="connsiteX5" fmla="*/ 145623 w 1077414"/>
              <a:gd name="connsiteY5" fmla="*/ 410601 h 435700"/>
              <a:gd name="connsiteX6" fmla="*/ 0 w 1077414"/>
              <a:gd name="connsiteY6" fmla="*/ 270621 h 435700"/>
              <a:gd name="connsiteX0" fmla="*/ 0 w 1077414"/>
              <a:gd name="connsiteY0" fmla="*/ 167153 h 332232"/>
              <a:gd name="connsiteX1" fmla="*/ 1077414 w 1077414"/>
              <a:gd name="connsiteY1" fmla="*/ 173571 h 332232"/>
              <a:gd name="connsiteX2" fmla="*/ 933996 w 1077414"/>
              <a:gd name="connsiteY2" fmla="*/ 321587 h 332232"/>
              <a:gd name="connsiteX3" fmla="*/ 575505 w 1077414"/>
              <a:gd name="connsiteY3" fmla="*/ 178276 h 332232"/>
              <a:gd name="connsiteX4" fmla="*/ 150399 w 1077414"/>
              <a:gd name="connsiteY4" fmla="*/ 313902 h 332232"/>
              <a:gd name="connsiteX5" fmla="*/ 145623 w 1077414"/>
              <a:gd name="connsiteY5" fmla="*/ 307133 h 332232"/>
              <a:gd name="connsiteX6" fmla="*/ 0 w 1077414"/>
              <a:gd name="connsiteY6" fmla="*/ 167153 h 332232"/>
              <a:gd name="connsiteX0" fmla="*/ 0 w 1077414"/>
              <a:gd name="connsiteY0" fmla="*/ 218112 h 383191"/>
              <a:gd name="connsiteX1" fmla="*/ 1077414 w 1077414"/>
              <a:gd name="connsiteY1" fmla="*/ 224530 h 383191"/>
              <a:gd name="connsiteX2" fmla="*/ 933996 w 1077414"/>
              <a:gd name="connsiteY2" fmla="*/ 372546 h 383191"/>
              <a:gd name="connsiteX3" fmla="*/ 575505 w 1077414"/>
              <a:gd name="connsiteY3" fmla="*/ 229235 h 383191"/>
              <a:gd name="connsiteX4" fmla="*/ 150399 w 1077414"/>
              <a:gd name="connsiteY4" fmla="*/ 364861 h 383191"/>
              <a:gd name="connsiteX5" fmla="*/ 145623 w 1077414"/>
              <a:gd name="connsiteY5" fmla="*/ 358092 h 383191"/>
              <a:gd name="connsiteX6" fmla="*/ 0 w 1077414"/>
              <a:gd name="connsiteY6" fmla="*/ 218112 h 383191"/>
              <a:gd name="connsiteX0" fmla="*/ 0 w 1077414"/>
              <a:gd name="connsiteY0" fmla="*/ 202064 h 367143"/>
              <a:gd name="connsiteX1" fmla="*/ 1077414 w 1077414"/>
              <a:gd name="connsiteY1" fmla="*/ 208482 h 367143"/>
              <a:gd name="connsiteX2" fmla="*/ 933996 w 1077414"/>
              <a:gd name="connsiteY2" fmla="*/ 356498 h 367143"/>
              <a:gd name="connsiteX3" fmla="*/ 575505 w 1077414"/>
              <a:gd name="connsiteY3" fmla="*/ 213187 h 367143"/>
              <a:gd name="connsiteX4" fmla="*/ 150399 w 1077414"/>
              <a:gd name="connsiteY4" fmla="*/ 348813 h 367143"/>
              <a:gd name="connsiteX5" fmla="*/ 145623 w 1077414"/>
              <a:gd name="connsiteY5" fmla="*/ 342044 h 367143"/>
              <a:gd name="connsiteX6" fmla="*/ 0 w 1077414"/>
              <a:gd name="connsiteY6" fmla="*/ 202064 h 367143"/>
              <a:gd name="connsiteX0" fmla="*/ 0 w 1077414"/>
              <a:gd name="connsiteY0" fmla="*/ 202064 h 366959"/>
              <a:gd name="connsiteX1" fmla="*/ 1077414 w 1077414"/>
              <a:gd name="connsiteY1" fmla="*/ 208482 h 366959"/>
              <a:gd name="connsiteX2" fmla="*/ 933996 w 1077414"/>
              <a:gd name="connsiteY2" fmla="*/ 356498 h 366959"/>
              <a:gd name="connsiteX3" fmla="*/ 533366 w 1077414"/>
              <a:gd name="connsiteY3" fmla="*/ 208973 h 366959"/>
              <a:gd name="connsiteX4" fmla="*/ 150399 w 1077414"/>
              <a:gd name="connsiteY4" fmla="*/ 348813 h 366959"/>
              <a:gd name="connsiteX5" fmla="*/ 145623 w 1077414"/>
              <a:gd name="connsiteY5" fmla="*/ 342044 h 366959"/>
              <a:gd name="connsiteX6" fmla="*/ 0 w 1077414"/>
              <a:gd name="connsiteY6" fmla="*/ 202064 h 366959"/>
              <a:gd name="connsiteX0" fmla="*/ 0 w 1077414"/>
              <a:gd name="connsiteY0" fmla="*/ 202064 h 354891"/>
              <a:gd name="connsiteX1" fmla="*/ 1077414 w 1077414"/>
              <a:gd name="connsiteY1" fmla="*/ 208482 h 354891"/>
              <a:gd name="connsiteX2" fmla="*/ 900285 w 1077414"/>
              <a:gd name="connsiteY2" fmla="*/ 343857 h 354891"/>
              <a:gd name="connsiteX3" fmla="*/ 533366 w 1077414"/>
              <a:gd name="connsiteY3" fmla="*/ 208973 h 354891"/>
              <a:gd name="connsiteX4" fmla="*/ 150399 w 1077414"/>
              <a:gd name="connsiteY4" fmla="*/ 348813 h 354891"/>
              <a:gd name="connsiteX5" fmla="*/ 145623 w 1077414"/>
              <a:gd name="connsiteY5" fmla="*/ 342044 h 354891"/>
              <a:gd name="connsiteX6" fmla="*/ 0 w 1077414"/>
              <a:gd name="connsiteY6" fmla="*/ 202064 h 354891"/>
              <a:gd name="connsiteX0" fmla="*/ 0 w 1077414"/>
              <a:gd name="connsiteY0" fmla="*/ 202064 h 348813"/>
              <a:gd name="connsiteX1" fmla="*/ 1077414 w 1077414"/>
              <a:gd name="connsiteY1" fmla="*/ 208482 h 348813"/>
              <a:gd name="connsiteX2" fmla="*/ 900285 w 1077414"/>
              <a:gd name="connsiteY2" fmla="*/ 343857 h 348813"/>
              <a:gd name="connsiteX3" fmla="*/ 533366 w 1077414"/>
              <a:gd name="connsiteY3" fmla="*/ 208973 h 348813"/>
              <a:gd name="connsiteX4" fmla="*/ 150399 w 1077414"/>
              <a:gd name="connsiteY4" fmla="*/ 348813 h 348813"/>
              <a:gd name="connsiteX5" fmla="*/ 145623 w 1077414"/>
              <a:gd name="connsiteY5" fmla="*/ 342044 h 348813"/>
              <a:gd name="connsiteX6" fmla="*/ 0 w 1077414"/>
              <a:gd name="connsiteY6" fmla="*/ 202064 h 348813"/>
              <a:gd name="connsiteX0" fmla="*/ 0 w 1077414"/>
              <a:gd name="connsiteY0" fmla="*/ 202064 h 364926"/>
              <a:gd name="connsiteX1" fmla="*/ 1077414 w 1077414"/>
              <a:gd name="connsiteY1" fmla="*/ 208482 h 364926"/>
              <a:gd name="connsiteX2" fmla="*/ 925568 w 1077414"/>
              <a:gd name="connsiteY2" fmla="*/ 364926 h 364926"/>
              <a:gd name="connsiteX3" fmla="*/ 533366 w 1077414"/>
              <a:gd name="connsiteY3" fmla="*/ 208973 h 364926"/>
              <a:gd name="connsiteX4" fmla="*/ 150399 w 1077414"/>
              <a:gd name="connsiteY4" fmla="*/ 348813 h 364926"/>
              <a:gd name="connsiteX5" fmla="*/ 145623 w 1077414"/>
              <a:gd name="connsiteY5" fmla="*/ 342044 h 364926"/>
              <a:gd name="connsiteX6" fmla="*/ 0 w 1077414"/>
              <a:gd name="connsiteY6" fmla="*/ 202064 h 364926"/>
              <a:gd name="connsiteX0" fmla="*/ 0 w 1077414"/>
              <a:gd name="connsiteY0" fmla="*/ 202064 h 364926"/>
              <a:gd name="connsiteX1" fmla="*/ 1077414 w 1077414"/>
              <a:gd name="connsiteY1" fmla="*/ 208482 h 364926"/>
              <a:gd name="connsiteX2" fmla="*/ 925568 w 1077414"/>
              <a:gd name="connsiteY2" fmla="*/ 364926 h 364926"/>
              <a:gd name="connsiteX3" fmla="*/ 546007 w 1077414"/>
              <a:gd name="connsiteY3" fmla="*/ 225829 h 364926"/>
              <a:gd name="connsiteX4" fmla="*/ 150399 w 1077414"/>
              <a:gd name="connsiteY4" fmla="*/ 348813 h 364926"/>
              <a:gd name="connsiteX5" fmla="*/ 145623 w 1077414"/>
              <a:gd name="connsiteY5" fmla="*/ 342044 h 364926"/>
              <a:gd name="connsiteX6" fmla="*/ 0 w 1077414"/>
              <a:gd name="connsiteY6" fmla="*/ 202064 h 364926"/>
              <a:gd name="connsiteX0" fmla="*/ 0 w 1077414"/>
              <a:gd name="connsiteY0" fmla="*/ 208754 h 371616"/>
              <a:gd name="connsiteX1" fmla="*/ 1077414 w 1077414"/>
              <a:gd name="connsiteY1" fmla="*/ 215172 h 371616"/>
              <a:gd name="connsiteX2" fmla="*/ 925568 w 1077414"/>
              <a:gd name="connsiteY2" fmla="*/ 371616 h 371616"/>
              <a:gd name="connsiteX3" fmla="*/ 546007 w 1077414"/>
              <a:gd name="connsiteY3" fmla="*/ 232519 h 371616"/>
              <a:gd name="connsiteX4" fmla="*/ 150399 w 1077414"/>
              <a:gd name="connsiteY4" fmla="*/ 355503 h 371616"/>
              <a:gd name="connsiteX5" fmla="*/ 145623 w 1077414"/>
              <a:gd name="connsiteY5" fmla="*/ 348734 h 371616"/>
              <a:gd name="connsiteX6" fmla="*/ 0 w 1077414"/>
              <a:gd name="connsiteY6" fmla="*/ 208754 h 371616"/>
              <a:gd name="connsiteX0" fmla="*/ 0 w 1077414"/>
              <a:gd name="connsiteY0" fmla="*/ 212262 h 375124"/>
              <a:gd name="connsiteX1" fmla="*/ 1077414 w 1077414"/>
              <a:gd name="connsiteY1" fmla="*/ 218680 h 375124"/>
              <a:gd name="connsiteX2" fmla="*/ 925568 w 1077414"/>
              <a:gd name="connsiteY2" fmla="*/ 375124 h 375124"/>
              <a:gd name="connsiteX3" fmla="*/ 546007 w 1077414"/>
              <a:gd name="connsiteY3" fmla="*/ 236027 h 375124"/>
              <a:gd name="connsiteX4" fmla="*/ 150399 w 1077414"/>
              <a:gd name="connsiteY4" fmla="*/ 359011 h 375124"/>
              <a:gd name="connsiteX5" fmla="*/ 145623 w 1077414"/>
              <a:gd name="connsiteY5" fmla="*/ 352242 h 375124"/>
              <a:gd name="connsiteX6" fmla="*/ 0 w 1077414"/>
              <a:gd name="connsiteY6" fmla="*/ 212262 h 375124"/>
              <a:gd name="connsiteX0" fmla="*/ 0 w 1077414"/>
              <a:gd name="connsiteY0" fmla="*/ 209580 h 372442"/>
              <a:gd name="connsiteX1" fmla="*/ 1077414 w 1077414"/>
              <a:gd name="connsiteY1" fmla="*/ 215998 h 372442"/>
              <a:gd name="connsiteX2" fmla="*/ 925568 w 1077414"/>
              <a:gd name="connsiteY2" fmla="*/ 372442 h 372442"/>
              <a:gd name="connsiteX3" fmla="*/ 546007 w 1077414"/>
              <a:gd name="connsiteY3" fmla="*/ 233345 h 372442"/>
              <a:gd name="connsiteX4" fmla="*/ 150399 w 1077414"/>
              <a:gd name="connsiteY4" fmla="*/ 356329 h 372442"/>
              <a:gd name="connsiteX5" fmla="*/ 145623 w 1077414"/>
              <a:gd name="connsiteY5" fmla="*/ 349560 h 372442"/>
              <a:gd name="connsiteX6" fmla="*/ 0 w 1077414"/>
              <a:gd name="connsiteY6" fmla="*/ 209580 h 372442"/>
              <a:gd name="connsiteX0" fmla="*/ 0 w 1252979"/>
              <a:gd name="connsiteY0" fmla="*/ 151796 h 504853"/>
              <a:gd name="connsiteX1" fmla="*/ 1252979 w 1252979"/>
              <a:gd name="connsiteY1" fmla="*/ 348409 h 504853"/>
              <a:gd name="connsiteX2" fmla="*/ 1101133 w 1252979"/>
              <a:gd name="connsiteY2" fmla="*/ 504853 h 504853"/>
              <a:gd name="connsiteX3" fmla="*/ 721572 w 1252979"/>
              <a:gd name="connsiteY3" fmla="*/ 365756 h 504853"/>
              <a:gd name="connsiteX4" fmla="*/ 325964 w 1252979"/>
              <a:gd name="connsiteY4" fmla="*/ 488740 h 504853"/>
              <a:gd name="connsiteX5" fmla="*/ 321188 w 1252979"/>
              <a:gd name="connsiteY5" fmla="*/ 481971 h 504853"/>
              <a:gd name="connsiteX6" fmla="*/ 0 w 1252979"/>
              <a:gd name="connsiteY6" fmla="*/ 151796 h 504853"/>
              <a:gd name="connsiteX0" fmla="*/ 0 w 1399283"/>
              <a:gd name="connsiteY0" fmla="*/ 217020 h 570077"/>
              <a:gd name="connsiteX1" fmla="*/ 1399283 w 1399283"/>
              <a:gd name="connsiteY1" fmla="*/ 205150 h 570077"/>
              <a:gd name="connsiteX2" fmla="*/ 1101133 w 1399283"/>
              <a:gd name="connsiteY2" fmla="*/ 570077 h 570077"/>
              <a:gd name="connsiteX3" fmla="*/ 721572 w 1399283"/>
              <a:gd name="connsiteY3" fmla="*/ 430980 h 570077"/>
              <a:gd name="connsiteX4" fmla="*/ 325964 w 1399283"/>
              <a:gd name="connsiteY4" fmla="*/ 553964 h 570077"/>
              <a:gd name="connsiteX5" fmla="*/ 321188 w 1399283"/>
              <a:gd name="connsiteY5" fmla="*/ 547195 h 570077"/>
              <a:gd name="connsiteX6" fmla="*/ 0 w 1399283"/>
              <a:gd name="connsiteY6" fmla="*/ 217020 h 570077"/>
              <a:gd name="connsiteX0" fmla="*/ 0 w 1384652"/>
              <a:gd name="connsiteY0" fmla="*/ 208139 h 561196"/>
              <a:gd name="connsiteX1" fmla="*/ 1384652 w 1384652"/>
              <a:gd name="connsiteY1" fmla="*/ 218215 h 561196"/>
              <a:gd name="connsiteX2" fmla="*/ 1101133 w 1384652"/>
              <a:gd name="connsiteY2" fmla="*/ 561196 h 561196"/>
              <a:gd name="connsiteX3" fmla="*/ 721572 w 1384652"/>
              <a:gd name="connsiteY3" fmla="*/ 422099 h 561196"/>
              <a:gd name="connsiteX4" fmla="*/ 325964 w 1384652"/>
              <a:gd name="connsiteY4" fmla="*/ 545083 h 561196"/>
              <a:gd name="connsiteX5" fmla="*/ 321188 w 1384652"/>
              <a:gd name="connsiteY5" fmla="*/ 538314 h 561196"/>
              <a:gd name="connsiteX6" fmla="*/ 0 w 1384652"/>
              <a:gd name="connsiteY6" fmla="*/ 208139 h 561196"/>
              <a:gd name="connsiteX0" fmla="*/ 0 w 1399283"/>
              <a:gd name="connsiteY0" fmla="*/ 217020 h 570077"/>
              <a:gd name="connsiteX1" fmla="*/ 1399283 w 1399283"/>
              <a:gd name="connsiteY1" fmla="*/ 205150 h 570077"/>
              <a:gd name="connsiteX2" fmla="*/ 1101133 w 1399283"/>
              <a:gd name="connsiteY2" fmla="*/ 570077 h 570077"/>
              <a:gd name="connsiteX3" fmla="*/ 721572 w 1399283"/>
              <a:gd name="connsiteY3" fmla="*/ 430980 h 570077"/>
              <a:gd name="connsiteX4" fmla="*/ 325964 w 1399283"/>
              <a:gd name="connsiteY4" fmla="*/ 553964 h 570077"/>
              <a:gd name="connsiteX5" fmla="*/ 321188 w 1399283"/>
              <a:gd name="connsiteY5" fmla="*/ 547195 h 570077"/>
              <a:gd name="connsiteX6" fmla="*/ 0 w 1399283"/>
              <a:gd name="connsiteY6" fmla="*/ 217020 h 570077"/>
              <a:gd name="connsiteX0" fmla="*/ 0 w 1826795"/>
              <a:gd name="connsiteY0" fmla="*/ 121940 h 843133"/>
              <a:gd name="connsiteX1" fmla="*/ 1826795 w 1826795"/>
              <a:gd name="connsiteY1" fmla="*/ 478206 h 843133"/>
              <a:gd name="connsiteX2" fmla="*/ 1528645 w 1826795"/>
              <a:gd name="connsiteY2" fmla="*/ 843133 h 843133"/>
              <a:gd name="connsiteX3" fmla="*/ 1149084 w 1826795"/>
              <a:gd name="connsiteY3" fmla="*/ 704036 h 843133"/>
              <a:gd name="connsiteX4" fmla="*/ 753476 w 1826795"/>
              <a:gd name="connsiteY4" fmla="*/ 827020 h 843133"/>
              <a:gd name="connsiteX5" fmla="*/ 748700 w 1826795"/>
              <a:gd name="connsiteY5" fmla="*/ 820251 h 843133"/>
              <a:gd name="connsiteX6" fmla="*/ 0 w 1826795"/>
              <a:gd name="connsiteY6" fmla="*/ 121940 h 843133"/>
              <a:gd name="connsiteX0" fmla="*/ 0 w 2206806"/>
              <a:gd name="connsiteY0" fmla="*/ 217020 h 938213"/>
              <a:gd name="connsiteX1" fmla="*/ 2206806 w 2206806"/>
              <a:gd name="connsiteY1" fmla="*/ 205151 h 938213"/>
              <a:gd name="connsiteX2" fmla="*/ 1528645 w 2206806"/>
              <a:gd name="connsiteY2" fmla="*/ 938213 h 938213"/>
              <a:gd name="connsiteX3" fmla="*/ 1149084 w 2206806"/>
              <a:gd name="connsiteY3" fmla="*/ 799116 h 938213"/>
              <a:gd name="connsiteX4" fmla="*/ 753476 w 2206806"/>
              <a:gd name="connsiteY4" fmla="*/ 922100 h 938213"/>
              <a:gd name="connsiteX5" fmla="*/ 748700 w 2206806"/>
              <a:gd name="connsiteY5" fmla="*/ 915331 h 938213"/>
              <a:gd name="connsiteX6" fmla="*/ 0 w 2206806"/>
              <a:gd name="connsiteY6" fmla="*/ 217020 h 938213"/>
              <a:gd name="connsiteX0" fmla="*/ 0 w 2206806"/>
              <a:gd name="connsiteY0" fmla="*/ 367990 h 1089183"/>
              <a:gd name="connsiteX1" fmla="*/ 2206806 w 2206806"/>
              <a:gd name="connsiteY1" fmla="*/ 356121 h 1089183"/>
              <a:gd name="connsiteX2" fmla="*/ 1528645 w 2206806"/>
              <a:gd name="connsiteY2" fmla="*/ 1089183 h 1089183"/>
              <a:gd name="connsiteX3" fmla="*/ 1149084 w 2206806"/>
              <a:gd name="connsiteY3" fmla="*/ 950086 h 1089183"/>
              <a:gd name="connsiteX4" fmla="*/ 753476 w 2206806"/>
              <a:gd name="connsiteY4" fmla="*/ 1073070 h 1089183"/>
              <a:gd name="connsiteX5" fmla="*/ 748700 w 2206806"/>
              <a:gd name="connsiteY5" fmla="*/ 1066301 h 1089183"/>
              <a:gd name="connsiteX6" fmla="*/ 0 w 2206806"/>
              <a:gd name="connsiteY6" fmla="*/ 367990 h 1089183"/>
              <a:gd name="connsiteX0" fmla="*/ 0 w 2206806"/>
              <a:gd name="connsiteY0" fmla="*/ 437333 h 1158526"/>
              <a:gd name="connsiteX1" fmla="*/ 2206806 w 2206806"/>
              <a:gd name="connsiteY1" fmla="*/ 425464 h 1158526"/>
              <a:gd name="connsiteX2" fmla="*/ 1528645 w 2206806"/>
              <a:gd name="connsiteY2" fmla="*/ 1158526 h 1158526"/>
              <a:gd name="connsiteX3" fmla="*/ 1149084 w 2206806"/>
              <a:gd name="connsiteY3" fmla="*/ 1019429 h 1158526"/>
              <a:gd name="connsiteX4" fmla="*/ 753476 w 2206806"/>
              <a:gd name="connsiteY4" fmla="*/ 1142413 h 1158526"/>
              <a:gd name="connsiteX5" fmla="*/ 748700 w 2206806"/>
              <a:gd name="connsiteY5" fmla="*/ 1135644 h 1158526"/>
              <a:gd name="connsiteX6" fmla="*/ 0 w 2206806"/>
              <a:gd name="connsiteY6" fmla="*/ 437333 h 1158526"/>
              <a:gd name="connsiteX0" fmla="*/ 0 w 2206806"/>
              <a:gd name="connsiteY0" fmla="*/ 424464 h 1145657"/>
              <a:gd name="connsiteX1" fmla="*/ 2206806 w 2206806"/>
              <a:gd name="connsiteY1" fmla="*/ 412595 h 1145657"/>
              <a:gd name="connsiteX2" fmla="*/ 1528645 w 2206806"/>
              <a:gd name="connsiteY2" fmla="*/ 1145657 h 1145657"/>
              <a:gd name="connsiteX3" fmla="*/ 1149084 w 2206806"/>
              <a:gd name="connsiteY3" fmla="*/ 1006560 h 1145657"/>
              <a:gd name="connsiteX4" fmla="*/ 753476 w 2206806"/>
              <a:gd name="connsiteY4" fmla="*/ 1129544 h 1145657"/>
              <a:gd name="connsiteX5" fmla="*/ 748700 w 2206806"/>
              <a:gd name="connsiteY5" fmla="*/ 1122775 h 1145657"/>
              <a:gd name="connsiteX6" fmla="*/ 0 w 2206806"/>
              <a:gd name="connsiteY6" fmla="*/ 424464 h 11456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06806" h="1145657">
                <a:moveTo>
                  <a:pt x="0" y="424464"/>
                </a:moveTo>
                <a:cubicBezTo>
                  <a:pt x="499319" y="-95311"/>
                  <a:pt x="1685338" y="-181554"/>
                  <a:pt x="2206806" y="412595"/>
                </a:cubicBezTo>
                <a:lnTo>
                  <a:pt x="1528645" y="1145657"/>
                </a:lnTo>
                <a:cubicBezTo>
                  <a:pt x="1474416" y="1119614"/>
                  <a:pt x="1285302" y="1008543"/>
                  <a:pt x="1149084" y="1006560"/>
                </a:cubicBezTo>
                <a:cubicBezTo>
                  <a:pt x="1012866" y="1004577"/>
                  <a:pt x="873877" y="1063250"/>
                  <a:pt x="753476" y="1129544"/>
                </a:cubicBezTo>
                <a:lnTo>
                  <a:pt x="748700" y="1122775"/>
                </a:lnTo>
                <a:lnTo>
                  <a:pt x="0" y="42446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369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ликвидностью</a:t>
            </a:r>
          </a:p>
        </p:txBody>
      </p:sp>
      <p:sp>
        <p:nvSpPr>
          <p:cNvPr id="11" name="Прямоугольник 1"/>
          <p:cNvSpPr/>
          <p:nvPr/>
        </p:nvSpPr>
        <p:spPr>
          <a:xfrm>
            <a:off x="3394021" y="1325941"/>
            <a:ext cx="2199659" cy="1141946"/>
          </a:xfrm>
          <a:custGeom>
            <a:avLst/>
            <a:gdLst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374782 w 1374782"/>
              <a:gd name="connsiteY2" fmla="*/ 397220 h 397220"/>
              <a:gd name="connsiteX3" fmla="*/ 0 w 1374782"/>
              <a:gd name="connsiteY3" fmla="*/ 397220 h 397220"/>
              <a:gd name="connsiteX4" fmla="*/ 0 w 1374782"/>
              <a:gd name="connsiteY4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0 w 1374782"/>
              <a:gd name="connsiteY3" fmla="*/ 397220 h 397220"/>
              <a:gd name="connsiteX4" fmla="*/ 0 w 1374782"/>
              <a:gd name="connsiteY4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302292 w 1374782"/>
              <a:gd name="connsiteY3" fmla="*/ 374688 h 397220"/>
              <a:gd name="connsiteX4" fmla="*/ 0 w 1374782"/>
              <a:gd name="connsiteY4" fmla="*/ 397220 h 397220"/>
              <a:gd name="connsiteX5" fmla="*/ 0 w 1374782"/>
              <a:gd name="connsiteY5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302292 w 1374782"/>
              <a:gd name="connsiteY3" fmla="*/ 374688 h 397220"/>
              <a:gd name="connsiteX4" fmla="*/ 276447 w 1374782"/>
              <a:gd name="connsiteY4" fmla="*/ 397220 h 397220"/>
              <a:gd name="connsiteX5" fmla="*/ 0 w 1374782"/>
              <a:gd name="connsiteY5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302292 w 1374782"/>
              <a:gd name="connsiteY3" fmla="*/ 374688 h 397220"/>
              <a:gd name="connsiteX4" fmla="*/ 276447 w 1374782"/>
              <a:gd name="connsiteY4" fmla="*/ 397220 h 397220"/>
              <a:gd name="connsiteX5" fmla="*/ 0 w 1374782"/>
              <a:gd name="connsiteY5" fmla="*/ 0 h 397220"/>
              <a:gd name="connsiteX0" fmla="*/ 0 w 1374782"/>
              <a:gd name="connsiteY0" fmla="*/ 80335 h 477555"/>
              <a:gd name="connsiteX1" fmla="*/ 1374782 w 1374782"/>
              <a:gd name="connsiteY1" fmla="*/ 80335 h 477555"/>
              <a:gd name="connsiteX2" fmla="*/ 1119600 w 1374782"/>
              <a:gd name="connsiteY2" fmla="*/ 466922 h 477555"/>
              <a:gd name="connsiteX3" fmla="*/ 302292 w 1374782"/>
              <a:gd name="connsiteY3" fmla="*/ 455023 h 477555"/>
              <a:gd name="connsiteX4" fmla="*/ 276447 w 1374782"/>
              <a:gd name="connsiteY4" fmla="*/ 477555 h 477555"/>
              <a:gd name="connsiteX5" fmla="*/ 0 w 1374782"/>
              <a:gd name="connsiteY5" fmla="*/ 80335 h 477555"/>
              <a:gd name="connsiteX0" fmla="*/ 0 w 1374782"/>
              <a:gd name="connsiteY0" fmla="*/ 80335 h 498820"/>
              <a:gd name="connsiteX1" fmla="*/ 1374782 w 1374782"/>
              <a:gd name="connsiteY1" fmla="*/ 80335 h 498820"/>
              <a:gd name="connsiteX2" fmla="*/ 1119600 w 1374782"/>
              <a:gd name="connsiteY2" fmla="*/ 466922 h 498820"/>
              <a:gd name="connsiteX3" fmla="*/ 302292 w 1374782"/>
              <a:gd name="connsiteY3" fmla="*/ 455023 h 498820"/>
              <a:gd name="connsiteX4" fmla="*/ 276447 w 1374782"/>
              <a:gd name="connsiteY4" fmla="*/ 498820 h 498820"/>
              <a:gd name="connsiteX5" fmla="*/ 0 w 1374782"/>
              <a:gd name="connsiteY5" fmla="*/ 80335 h 498820"/>
              <a:gd name="connsiteX0" fmla="*/ 0 w 1374782"/>
              <a:gd name="connsiteY0" fmla="*/ 80335 h 498820"/>
              <a:gd name="connsiteX1" fmla="*/ 1374782 w 1374782"/>
              <a:gd name="connsiteY1" fmla="*/ 80335 h 498820"/>
              <a:gd name="connsiteX2" fmla="*/ 1119600 w 1374782"/>
              <a:gd name="connsiteY2" fmla="*/ 466922 h 498820"/>
              <a:gd name="connsiteX3" fmla="*/ 706329 w 1374782"/>
              <a:gd name="connsiteY3" fmla="*/ 369963 h 498820"/>
              <a:gd name="connsiteX4" fmla="*/ 302292 w 1374782"/>
              <a:gd name="connsiteY4" fmla="*/ 455023 h 498820"/>
              <a:gd name="connsiteX5" fmla="*/ 276447 w 1374782"/>
              <a:gd name="connsiteY5" fmla="*/ 498820 h 498820"/>
              <a:gd name="connsiteX6" fmla="*/ 0 w 1374782"/>
              <a:gd name="connsiteY6" fmla="*/ 80335 h 498820"/>
              <a:gd name="connsiteX0" fmla="*/ 0 w 1353517"/>
              <a:gd name="connsiteY0" fmla="*/ 93066 h 469021"/>
              <a:gd name="connsiteX1" fmla="*/ 1353517 w 1353517"/>
              <a:gd name="connsiteY1" fmla="*/ 50536 h 469021"/>
              <a:gd name="connsiteX2" fmla="*/ 1098335 w 1353517"/>
              <a:gd name="connsiteY2" fmla="*/ 437123 h 469021"/>
              <a:gd name="connsiteX3" fmla="*/ 685064 w 1353517"/>
              <a:gd name="connsiteY3" fmla="*/ 340164 h 469021"/>
              <a:gd name="connsiteX4" fmla="*/ 281027 w 1353517"/>
              <a:gd name="connsiteY4" fmla="*/ 425224 h 469021"/>
              <a:gd name="connsiteX5" fmla="*/ 255182 w 1353517"/>
              <a:gd name="connsiteY5" fmla="*/ 469021 h 469021"/>
              <a:gd name="connsiteX6" fmla="*/ 0 w 1353517"/>
              <a:gd name="connsiteY6" fmla="*/ 93066 h 469021"/>
              <a:gd name="connsiteX0" fmla="*/ 0 w 1342884"/>
              <a:gd name="connsiteY0" fmla="*/ 77669 h 453624"/>
              <a:gd name="connsiteX1" fmla="*/ 1342884 w 1342884"/>
              <a:gd name="connsiteY1" fmla="*/ 88302 h 453624"/>
              <a:gd name="connsiteX2" fmla="*/ 1098335 w 1342884"/>
              <a:gd name="connsiteY2" fmla="*/ 421726 h 453624"/>
              <a:gd name="connsiteX3" fmla="*/ 685064 w 1342884"/>
              <a:gd name="connsiteY3" fmla="*/ 324767 h 453624"/>
              <a:gd name="connsiteX4" fmla="*/ 281027 w 1342884"/>
              <a:gd name="connsiteY4" fmla="*/ 409827 h 453624"/>
              <a:gd name="connsiteX5" fmla="*/ 255182 w 1342884"/>
              <a:gd name="connsiteY5" fmla="*/ 453624 h 453624"/>
              <a:gd name="connsiteX6" fmla="*/ 0 w 1342884"/>
              <a:gd name="connsiteY6" fmla="*/ 77669 h 453624"/>
              <a:gd name="connsiteX0" fmla="*/ 0 w 1342884"/>
              <a:gd name="connsiteY0" fmla="*/ 77669 h 479968"/>
              <a:gd name="connsiteX1" fmla="*/ 1342884 w 1342884"/>
              <a:gd name="connsiteY1" fmla="*/ 88302 h 479968"/>
              <a:gd name="connsiteX2" fmla="*/ 1043555 w 1342884"/>
              <a:gd name="connsiteY2" fmla="*/ 468078 h 479968"/>
              <a:gd name="connsiteX3" fmla="*/ 685064 w 1342884"/>
              <a:gd name="connsiteY3" fmla="*/ 324767 h 479968"/>
              <a:gd name="connsiteX4" fmla="*/ 281027 w 1342884"/>
              <a:gd name="connsiteY4" fmla="*/ 409827 h 479968"/>
              <a:gd name="connsiteX5" fmla="*/ 255182 w 1342884"/>
              <a:gd name="connsiteY5" fmla="*/ 453624 h 479968"/>
              <a:gd name="connsiteX6" fmla="*/ 0 w 1342884"/>
              <a:gd name="connsiteY6" fmla="*/ 77669 h 479968"/>
              <a:gd name="connsiteX0" fmla="*/ 0 w 1342884"/>
              <a:gd name="connsiteY0" fmla="*/ 77669 h 478723"/>
              <a:gd name="connsiteX1" fmla="*/ 1342884 w 1342884"/>
              <a:gd name="connsiteY1" fmla="*/ 88302 h 478723"/>
              <a:gd name="connsiteX2" fmla="*/ 1043555 w 1342884"/>
              <a:gd name="connsiteY2" fmla="*/ 468078 h 478723"/>
              <a:gd name="connsiteX3" fmla="*/ 685064 w 1342884"/>
              <a:gd name="connsiteY3" fmla="*/ 324767 h 478723"/>
              <a:gd name="connsiteX4" fmla="*/ 281027 w 1342884"/>
              <a:gd name="connsiteY4" fmla="*/ 409827 h 478723"/>
              <a:gd name="connsiteX5" fmla="*/ 255182 w 1342884"/>
              <a:gd name="connsiteY5" fmla="*/ 453624 h 478723"/>
              <a:gd name="connsiteX6" fmla="*/ 0 w 1342884"/>
              <a:gd name="connsiteY6" fmla="*/ 77669 h 478723"/>
              <a:gd name="connsiteX0" fmla="*/ 0 w 1342884"/>
              <a:gd name="connsiteY0" fmla="*/ 77669 h 478723"/>
              <a:gd name="connsiteX1" fmla="*/ 1342884 w 1342884"/>
              <a:gd name="connsiteY1" fmla="*/ 88302 h 478723"/>
              <a:gd name="connsiteX2" fmla="*/ 1043555 w 1342884"/>
              <a:gd name="connsiteY2" fmla="*/ 468078 h 478723"/>
              <a:gd name="connsiteX3" fmla="*/ 685064 w 1342884"/>
              <a:gd name="connsiteY3" fmla="*/ 324767 h 478723"/>
              <a:gd name="connsiteX4" fmla="*/ 259958 w 1342884"/>
              <a:gd name="connsiteY4" fmla="*/ 460393 h 478723"/>
              <a:gd name="connsiteX5" fmla="*/ 255182 w 1342884"/>
              <a:gd name="connsiteY5" fmla="*/ 453624 h 478723"/>
              <a:gd name="connsiteX6" fmla="*/ 0 w 1342884"/>
              <a:gd name="connsiteY6" fmla="*/ 77669 h 478723"/>
              <a:gd name="connsiteX0" fmla="*/ 0 w 1342884"/>
              <a:gd name="connsiteY0" fmla="*/ 77669 h 478723"/>
              <a:gd name="connsiteX1" fmla="*/ 1342884 w 1342884"/>
              <a:gd name="connsiteY1" fmla="*/ 88302 h 478723"/>
              <a:gd name="connsiteX2" fmla="*/ 1043555 w 1342884"/>
              <a:gd name="connsiteY2" fmla="*/ 468078 h 478723"/>
              <a:gd name="connsiteX3" fmla="*/ 685064 w 1342884"/>
              <a:gd name="connsiteY3" fmla="*/ 324767 h 478723"/>
              <a:gd name="connsiteX4" fmla="*/ 259958 w 1342884"/>
              <a:gd name="connsiteY4" fmla="*/ 460393 h 478723"/>
              <a:gd name="connsiteX5" fmla="*/ 255182 w 1342884"/>
              <a:gd name="connsiteY5" fmla="*/ 453624 h 478723"/>
              <a:gd name="connsiteX6" fmla="*/ 0 w 1342884"/>
              <a:gd name="connsiteY6" fmla="*/ 77669 h 478723"/>
              <a:gd name="connsiteX0" fmla="*/ 0 w 1186973"/>
              <a:gd name="connsiteY0" fmla="*/ 44919 h 445973"/>
              <a:gd name="connsiteX1" fmla="*/ 1186973 w 1186973"/>
              <a:gd name="connsiteY1" fmla="*/ 287312 h 445973"/>
              <a:gd name="connsiteX2" fmla="*/ 1043555 w 1186973"/>
              <a:gd name="connsiteY2" fmla="*/ 435328 h 445973"/>
              <a:gd name="connsiteX3" fmla="*/ 685064 w 1186973"/>
              <a:gd name="connsiteY3" fmla="*/ 292017 h 445973"/>
              <a:gd name="connsiteX4" fmla="*/ 259958 w 1186973"/>
              <a:gd name="connsiteY4" fmla="*/ 427643 h 445973"/>
              <a:gd name="connsiteX5" fmla="*/ 255182 w 1186973"/>
              <a:gd name="connsiteY5" fmla="*/ 420874 h 445973"/>
              <a:gd name="connsiteX6" fmla="*/ 0 w 1186973"/>
              <a:gd name="connsiteY6" fmla="*/ 44919 h 445973"/>
              <a:gd name="connsiteX0" fmla="*/ 0 w 1077414"/>
              <a:gd name="connsiteY0" fmla="*/ 78705 h 243784"/>
              <a:gd name="connsiteX1" fmla="*/ 1077414 w 1077414"/>
              <a:gd name="connsiteY1" fmla="*/ 85123 h 243784"/>
              <a:gd name="connsiteX2" fmla="*/ 933996 w 1077414"/>
              <a:gd name="connsiteY2" fmla="*/ 233139 h 243784"/>
              <a:gd name="connsiteX3" fmla="*/ 575505 w 1077414"/>
              <a:gd name="connsiteY3" fmla="*/ 89828 h 243784"/>
              <a:gd name="connsiteX4" fmla="*/ 150399 w 1077414"/>
              <a:gd name="connsiteY4" fmla="*/ 225454 h 243784"/>
              <a:gd name="connsiteX5" fmla="*/ 145623 w 1077414"/>
              <a:gd name="connsiteY5" fmla="*/ 218685 h 243784"/>
              <a:gd name="connsiteX6" fmla="*/ 0 w 1077414"/>
              <a:gd name="connsiteY6" fmla="*/ 78705 h 243784"/>
              <a:gd name="connsiteX0" fmla="*/ 0 w 1077414"/>
              <a:gd name="connsiteY0" fmla="*/ 222889 h 387968"/>
              <a:gd name="connsiteX1" fmla="*/ 1077414 w 1077414"/>
              <a:gd name="connsiteY1" fmla="*/ 229307 h 387968"/>
              <a:gd name="connsiteX2" fmla="*/ 933996 w 1077414"/>
              <a:gd name="connsiteY2" fmla="*/ 377323 h 387968"/>
              <a:gd name="connsiteX3" fmla="*/ 575505 w 1077414"/>
              <a:gd name="connsiteY3" fmla="*/ 234012 h 387968"/>
              <a:gd name="connsiteX4" fmla="*/ 150399 w 1077414"/>
              <a:gd name="connsiteY4" fmla="*/ 369638 h 387968"/>
              <a:gd name="connsiteX5" fmla="*/ 145623 w 1077414"/>
              <a:gd name="connsiteY5" fmla="*/ 362869 h 387968"/>
              <a:gd name="connsiteX6" fmla="*/ 0 w 1077414"/>
              <a:gd name="connsiteY6" fmla="*/ 222889 h 387968"/>
              <a:gd name="connsiteX0" fmla="*/ 0 w 1077414"/>
              <a:gd name="connsiteY0" fmla="*/ 270621 h 435700"/>
              <a:gd name="connsiteX1" fmla="*/ 1077414 w 1077414"/>
              <a:gd name="connsiteY1" fmla="*/ 277039 h 435700"/>
              <a:gd name="connsiteX2" fmla="*/ 933996 w 1077414"/>
              <a:gd name="connsiteY2" fmla="*/ 425055 h 435700"/>
              <a:gd name="connsiteX3" fmla="*/ 575505 w 1077414"/>
              <a:gd name="connsiteY3" fmla="*/ 281744 h 435700"/>
              <a:gd name="connsiteX4" fmla="*/ 150399 w 1077414"/>
              <a:gd name="connsiteY4" fmla="*/ 417370 h 435700"/>
              <a:gd name="connsiteX5" fmla="*/ 145623 w 1077414"/>
              <a:gd name="connsiteY5" fmla="*/ 410601 h 435700"/>
              <a:gd name="connsiteX6" fmla="*/ 0 w 1077414"/>
              <a:gd name="connsiteY6" fmla="*/ 270621 h 435700"/>
              <a:gd name="connsiteX0" fmla="*/ 0 w 1077414"/>
              <a:gd name="connsiteY0" fmla="*/ 167153 h 332232"/>
              <a:gd name="connsiteX1" fmla="*/ 1077414 w 1077414"/>
              <a:gd name="connsiteY1" fmla="*/ 173571 h 332232"/>
              <a:gd name="connsiteX2" fmla="*/ 933996 w 1077414"/>
              <a:gd name="connsiteY2" fmla="*/ 321587 h 332232"/>
              <a:gd name="connsiteX3" fmla="*/ 575505 w 1077414"/>
              <a:gd name="connsiteY3" fmla="*/ 178276 h 332232"/>
              <a:gd name="connsiteX4" fmla="*/ 150399 w 1077414"/>
              <a:gd name="connsiteY4" fmla="*/ 313902 h 332232"/>
              <a:gd name="connsiteX5" fmla="*/ 145623 w 1077414"/>
              <a:gd name="connsiteY5" fmla="*/ 307133 h 332232"/>
              <a:gd name="connsiteX6" fmla="*/ 0 w 1077414"/>
              <a:gd name="connsiteY6" fmla="*/ 167153 h 332232"/>
              <a:gd name="connsiteX0" fmla="*/ 0 w 1077414"/>
              <a:gd name="connsiteY0" fmla="*/ 218112 h 383191"/>
              <a:gd name="connsiteX1" fmla="*/ 1077414 w 1077414"/>
              <a:gd name="connsiteY1" fmla="*/ 224530 h 383191"/>
              <a:gd name="connsiteX2" fmla="*/ 933996 w 1077414"/>
              <a:gd name="connsiteY2" fmla="*/ 372546 h 383191"/>
              <a:gd name="connsiteX3" fmla="*/ 575505 w 1077414"/>
              <a:gd name="connsiteY3" fmla="*/ 229235 h 383191"/>
              <a:gd name="connsiteX4" fmla="*/ 150399 w 1077414"/>
              <a:gd name="connsiteY4" fmla="*/ 364861 h 383191"/>
              <a:gd name="connsiteX5" fmla="*/ 145623 w 1077414"/>
              <a:gd name="connsiteY5" fmla="*/ 358092 h 383191"/>
              <a:gd name="connsiteX6" fmla="*/ 0 w 1077414"/>
              <a:gd name="connsiteY6" fmla="*/ 218112 h 383191"/>
              <a:gd name="connsiteX0" fmla="*/ 0 w 1077414"/>
              <a:gd name="connsiteY0" fmla="*/ 202064 h 367143"/>
              <a:gd name="connsiteX1" fmla="*/ 1077414 w 1077414"/>
              <a:gd name="connsiteY1" fmla="*/ 208482 h 367143"/>
              <a:gd name="connsiteX2" fmla="*/ 933996 w 1077414"/>
              <a:gd name="connsiteY2" fmla="*/ 356498 h 367143"/>
              <a:gd name="connsiteX3" fmla="*/ 575505 w 1077414"/>
              <a:gd name="connsiteY3" fmla="*/ 213187 h 367143"/>
              <a:gd name="connsiteX4" fmla="*/ 150399 w 1077414"/>
              <a:gd name="connsiteY4" fmla="*/ 348813 h 367143"/>
              <a:gd name="connsiteX5" fmla="*/ 145623 w 1077414"/>
              <a:gd name="connsiteY5" fmla="*/ 342044 h 367143"/>
              <a:gd name="connsiteX6" fmla="*/ 0 w 1077414"/>
              <a:gd name="connsiteY6" fmla="*/ 202064 h 367143"/>
              <a:gd name="connsiteX0" fmla="*/ 0 w 1077414"/>
              <a:gd name="connsiteY0" fmla="*/ 202064 h 366959"/>
              <a:gd name="connsiteX1" fmla="*/ 1077414 w 1077414"/>
              <a:gd name="connsiteY1" fmla="*/ 208482 h 366959"/>
              <a:gd name="connsiteX2" fmla="*/ 933996 w 1077414"/>
              <a:gd name="connsiteY2" fmla="*/ 356498 h 366959"/>
              <a:gd name="connsiteX3" fmla="*/ 533366 w 1077414"/>
              <a:gd name="connsiteY3" fmla="*/ 208973 h 366959"/>
              <a:gd name="connsiteX4" fmla="*/ 150399 w 1077414"/>
              <a:gd name="connsiteY4" fmla="*/ 348813 h 366959"/>
              <a:gd name="connsiteX5" fmla="*/ 145623 w 1077414"/>
              <a:gd name="connsiteY5" fmla="*/ 342044 h 366959"/>
              <a:gd name="connsiteX6" fmla="*/ 0 w 1077414"/>
              <a:gd name="connsiteY6" fmla="*/ 202064 h 366959"/>
              <a:gd name="connsiteX0" fmla="*/ 0 w 1077414"/>
              <a:gd name="connsiteY0" fmla="*/ 202064 h 354891"/>
              <a:gd name="connsiteX1" fmla="*/ 1077414 w 1077414"/>
              <a:gd name="connsiteY1" fmla="*/ 208482 h 354891"/>
              <a:gd name="connsiteX2" fmla="*/ 900285 w 1077414"/>
              <a:gd name="connsiteY2" fmla="*/ 343857 h 354891"/>
              <a:gd name="connsiteX3" fmla="*/ 533366 w 1077414"/>
              <a:gd name="connsiteY3" fmla="*/ 208973 h 354891"/>
              <a:gd name="connsiteX4" fmla="*/ 150399 w 1077414"/>
              <a:gd name="connsiteY4" fmla="*/ 348813 h 354891"/>
              <a:gd name="connsiteX5" fmla="*/ 145623 w 1077414"/>
              <a:gd name="connsiteY5" fmla="*/ 342044 h 354891"/>
              <a:gd name="connsiteX6" fmla="*/ 0 w 1077414"/>
              <a:gd name="connsiteY6" fmla="*/ 202064 h 354891"/>
              <a:gd name="connsiteX0" fmla="*/ 0 w 1077414"/>
              <a:gd name="connsiteY0" fmla="*/ 202064 h 348813"/>
              <a:gd name="connsiteX1" fmla="*/ 1077414 w 1077414"/>
              <a:gd name="connsiteY1" fmla="*/ 208482 h 348813"/>
              <a:gd name="connsiteX2" fmla="*/ 900285 w 1077414"/>
              <a:gd name="connsiteY2" fmla="*/ 343857 h 348813"/>
              <a:gd name="connsiteX3" fmla="*/ 533366 w 1077414"/>
              <a:gd name="connsiteY3" fmla="*/ 208973 h 348813"/>
              <a:gd name="connsiteX4" fmla="*/ 150399 w 1077414"/>
              <a:gd name="connsiteY4" fmla="*/ 348813 h 348813"/>
              <a:gd name="connsiteX5" fmla="*/ 145623 w 1077414"/>
              <a:gd name="connsiteY5" fmla="*/ 342044 h 348813"/>
              <a:gd name="connsiteX6" fmla="*/ 0 w 1077414"/>
              <a:gd name="connsiteY6" fmla="*/ 202064 h 348813"/>
              <a:gd name="connsiteX0" fmla="*/ 0 w 1077414"/>
              <a:gd name="connsiteY0" fmla="*/ 202064 h 364926"/>
              <a:gd name="connsiteX1" fmla="*/ 1077414 w 1077414"/>
              <a:gd name="connsiteY1" fmla="*/ 208482 h 364926"/>
              <a:gd name="connsiteX2" fmla="*/ 925568 w 1077414"/>
              <a:gd name="connsiteY2" fmla="*/ 364926 h 364926"/>
              <a:gd name="connsiteX3" fmla="*/ 533366 w 1077414"/>
              <a:gd name="connsiteY3" fmla="*/ 208973 h 364926"/>
              <a:gd name="connsiteX4" fmla="*/ 150399 w 1077414"/>
              <a:gd name="connsiteY4" fmla="*/ 348813 h 364926"/>
              <a:gd name="connsiteX5" fmla="*/ 145623 w 1077414"/>
              <a:gd name="connsiteY5" fmla="*/ 342044 h 364926"/>
              <a:gd name="connsiteX6" fmla="*/ 0 w 1077414"/>
              <a:gd name="connsiteY6" fmla="*/ 202064 h 364926"/>
              <a:gd name="connsiteX0" fmla="*/ 0 w 1077414"/>
              <a:gd name="connsiteY0" fmla="*/ 202064 h 364926"/>
              <a:gd name="connsiteX1" fmla="*/ 1077414 w 1077414"/>
              <a:gd name="connsiteY1" fmla="*/ 208482 h 364926"/>
              <a:gd name="connsiteX2" fmla="*/ 925568 w 1077414"/>
              <a:gd name="connsiteY2" fmla="*/ 364926 h 364926"/>
              <a:gd name="connsiteX3" fmla="*/ 546007 w 1077414"/>
              <a:gd name="connsiteY3" fmla="*/ 225829 h 364926"/>
              <a:gd name="connsiteX4" fmla="*/ 150399 w 1077414"/>
              <a:gd name="connsiteY4" fmla="*/ 348813 h 364926"/>
              <a:gd name="connsiteX5" fmla="*/ 145623 w 1077414"/>
              <a:gd name="connsiteY5" fmla="*/ 342044 h 364926"/>
              <a:gd name="connsiteX6" fmla="*/ 0 w 1077414"/>
              <a:gd name="connsiteY6" fmla="*/ 202064 h 364926"/>
              <a:gd name="connsiteX0" fmla="*/ 0 w 1077414"/>
              <a:gd name="connsiteY0" fmla="*/ 208754 h 371616"/>
              <a:gd name="connsiteX1" fmla="*/ 1077414 w 1077414"/>
              <a:gd name="connsiteY1" fmla="*/ 215172 h 371616"/>
              <a:gd name="connsiteX2" fmla="*/ 925568 w 1077414"/>
              <a:gd name="connsiteY2" fmla="*/ 371616 h 371616"/>
              <a:gd name="connsiteX3" fmla="*/ 546007 w 1077414"/>
              <a:gd name="connsiteY3" fmla="*/ 232519 h 371616"/>
              <a:gd name="connsiteX4" fmla="*/ 150399 w 1077414"/>
              <a:gd name="connsiteY4" fmla="*/ 355503 h 371616"/>
              <a:gd name="connsiteX5" fmla="*/ 145623 w 1077414"/>
              <a:gd name="connsiteY5" fmla="*/ 348734 h 371616"/>
              <a:gd name="connsiteX6" fmla="*/ 0 w 1077414"/>
              <a:gd name="connsiteY6" fmla="*/ 208754 h 371616"/>
              <a:gd name="connsiteX0" fmla="*/ 0 w 1077414"/>
              <a:gd name="connsiteY0" fmla="*/ 212262 h 375124"/>
              <a:gd name="connsiteX1" fmla="*/ 1077414 w 1077414"/>
              <a:gd name="connsiteY1" fmla="*/ 218680 h 375124"/>
              <a:gd name="connsiteX2" fmla="*/ 925568 w 1077414"/>
              <a:gd name="connsiteY2" fmla="*/ 375124 h 375124"/>
              <a:gd name="connsiteX3" fmla="*/ 546007 w 1077414"/>
              <a:gd name="connsiteY3" fmla="*/ 236027 h 375124"/>
              <a:gd name="connsiteX4" fmla="*/ 150399 w 1077414"/>
              <a:gd name="connsiteY4" fmla="*/ 359011 h 375124"/>
              <a:gd name="connsiteX5" fmla="*/ 145623 w 1077414"/>
              <a:gd name="connsiteY5" fmla="*/ 352242 h 375124"/>
              <a:gd name="connsiteX6" fmla="*/ 0 w 1077414"/>
              <a:gd name="connsiteY6" fmla="*/ 212262 h 375124"/>
              <a:gd name="connsiteX0" fmla="*/ 0 w 1077414"/>
              <a:gd name="connsiteY0" fmla="*/ 209580 h 372442"/>
              <a:gd name="connsiteX1" fmla="*/ 1077414 w 1077414"/>
              <a:gd name="connsiteY1" fmla="*/ 215998 h 372442"/>
              <a:gd name="connsiteX2" fmla="*/ 925568 w 1077414"/>
              <a:gd name="connsiteY2" fmla="*/ 372442 h 372442"/>
              <a:gd name="connsiteX3" fmla="*/ 546007 w 1077414"/>
              <a:gd name="connsiteY3" fmla="*/ 233345 h 372442"/>
              <a:gd name="connsiteX4" fmla="*/ 150399 w 1077414"/>
              <a:gd name="connsiteY4" fmla="*/ 356329 h 372442"/>
              <a:gd name="connsiteX5" fmla="*/ 145623 w 1077414"/>
              <a:gd name="connsiteY5" fmla="*/ 349560 h 372442"/>
              <a:gd name="connsiteX6" fmla="*/ 0 w 1077414"/>
              <a:gd name="connsiteY6" fmla="*/ 209580 h 372442"/>
              <a:gd name="connsiteX0" fmla="*/ 0 w 1252979"/>
              <a:gd name="connsiteY0" fmla="*/ 151796 h 504853"/>
              <a:gd name="connsiteX1" fmla="*/ 1252979 w 1252979"/>
              <a:gd name="connsiteY1" fmla="*/ 348409 h 504853"/>
              <a:gd name="connsiteX2" fmla="*/ 1101133 w 1252979"/>
              <a:gd name="connsiteY2" fmla="*/ 504853 h 504853"/>
              <a:gd name="connsiteX3" fmla="*/ 721572 w 1252979"/>
              <a:gd name="connsiteY3" fmla="*/ 365756 h 504853"/>
              <a:gd name="connsiteX4" fmla="*/ 325964 w 1252979"/>
              <a:gd name="connsiteY4" fmla="*/ 488740 h 504853"/>
              <a:gd name="connsiteX5" fmla="*/ 321188 w 1252979"/>
              <a:gd name="connsiteY5" fmla="*/ 481971 h 504853"/>
              <a:gd name="connsiteX6" fmla="*/ 0 w 1252979"/>
              <a:gd name="connsiteY6" fmla="*/ 151796 h 504853"/>
              <a:gd name="connsiteX0" fmla="*/ 0 w 1399283"/>
              <a:gd name="connsiteY0" fmla="*/ 217020 h 570077"/>
              <a:gd name="connsiteX1" fmla="*/ 1399283 w 1399283"/>
              <a:gd name="connsiteY1" fmla="*/ 205150 h 570077"/>
              <a:gd name="connsiteX2" fmla="*/ 1101133 w 1399283"/>
              <a:gd name="connsiteY2" fmla="*/ 570077 h 570077"/>
              <a:gd name="connsiteX3" fmla="*/ 721572 w 1399283"/>
              <a:gd name="connsiteY3" fmla="*/ 430980 h 570077"/>
              <a:gd name="connsiteX4" fmla="*/ 325964 w 1399283"/>
              <a:gd name="connsiteY4" fmla="*/ 553964 h 570077"/>
              <a:gd name="connsiteX5" fmla="*/ 321188 w 1399283"/>
              <a:gd name="connsiteY5" fmla="*/ 547195 h 570077"/>
              <a:gd name="connsiteX6" fmla="*/ 0 w 1399283"/>
              <a:gd name="connsiteY6" fmla="*/ 217020 h 570077"/>
              <a:gd name="connsiteX0" fmla="*/ 0 w 1384652"/>
              <a:gd name="connsiteY0" fmla="*/ 208139 h 561196"/>
              <a:gd name="connsiteX1" fmla="*/ 1384652 w 1384652"/>
              <a:gd name="connsiteY1" fmla="*/ 218215 h 561196"/>
              <a:gd name="connsiteX2" fmla="*/ 1101133 w 1384652"/>
              <a:gd name="connsiteY2" fmla="*/ 561196 h 561196"/>
              <a:gd name="connsiteX3" fmla="*/ 721572 w 1384652"/>
              <a:gd name="connsiteY3" fmla="*/ 422099 h 561196"/>
              <a:gd name="connsiteX4" fmla="*/ 325964 w 1384652"/>
              <a:gd name="connsiteY4" fmla="*/ 545083 h 561196"/>
              <a:gd name="connsiteX5" fmla="*/ 321188 w 1384652"/>
              <a:gd name="connsiteY5" fmla="*/ 538314 h 561196"/>
              <a:gd name="connsiteX6" fmla="*/ 0 w 1384652"/>
              <a:gd name="connsiteY6" fmla="*/ 208139 h 561196"/>
              <a:gd name="connsiteX0" fmla="*/ 0 w 1399283"/>
              <a:gd name="connsiteY0" fmla="*/ 217020 h 570077"/>
              <a:gd name="connsiteX1" fmla="*/ 1399283 w 1399283"/>
              <a:gd name="connsiteY1" fmla="*/ 205150 h 570077"/>
              <a:gd name="connsiteX2" fmla="*/ 1101133 w 1399283"/>
              <a:gd name="connsiteY2" fmla="*/ 570077 h 570077"/>
              <a:gd name="connsiteX3" fmla="*/ 721572 w 1399283"/>
              <a:gd name="connsiteY3" fmla="*/ 430980 h 570077"/>
              <a:gd name="connsiteX4" fmla="*/ 325964 w 1399283"/>
              <a:gd name="connsiteY4" fmla="*/ 553964 h 570077"/>
              <a:gd name="connsiteX5" fmla="*/ 321188 w 1399283"/>
              <a:gd name="connsiteY5" fmla="*/ 547195 h 570077"/>
              <a:gd name="connsiteX6" fmla="*/ 0 w 1399283"/>
              <a:gd name="connsiteY6" fmla="*/ 217020 h 570077"/>
              <a:gd name="connsiteX0" fmla="*/ 0 w 1826795"/>
              <a:gd name="connsiteY0" fmla="*/ 121940 h 843133"/>
              <a:gd name="connsiteX1" fmla="*/ 1826795 w 1826795"/>
              <a:gd name="connsiteY1" fmla="*/ 478206 h 843133"/>
              <a:gd name="connsiteX2" fmla="*/ 1528645 w 1826795"/>
              <a:gd name="connsiteY2" fmla="*/ 843133 h 843133"/>
              <a:gd name="connsiteX3" fmla="*/ 1149084 w 1826795"/>
              <a:gd name="connsiteY3" fmla="*/ 704036 h 843133"/>
              <a:gd name="connsiteX4" fmla="*/ 753476 w 1826795"/>
              <a:gd name="connsiteY4" fmla="*/ 827020 h 843133"/>
              <a:gd name="connsiteX5" fmla="*/ 748700 w 1826795"/>
              <a:gd name="connsiteY5" fmla="*/ 820251 h 843133"/>
              <a:gd name="connsiteX6" fmla="*/ 0 w 1826795"/>
              <a:gd name="connsiteY6" fmla="*/ 121940 h 843133"/>
              <a:gd name="connsiteX0" fmla="*/ 0 w 2206806"/>
              <a:gd name="connsiteY0" fmla="*/ 217020 h 938213"/>
              <a:gd name="connsiteX1" fmla="*/ 2206806 w 2206806"/>
              <a:gd name="connsiteY1" fmla="*/ 205151 h 938213"/>
              <a:gd name="connsiteX2" fmla="*/ 1528645 w 2206806"/>
              <a:gd name="connsiteY2" fmla="*/ 938213 h 938213"/>
              <a:gd name="connsiteX3" fmla="*/ 1149084 w 2206806"/>
              <a:gd name="connsiteY3" fmla="*/ 799116 h 938213"/>
              <a:gd name="connsiteX4" fmla="*/ 753476 w 2206806"/>
              <a:gd name="connsiteY4" fmla="*/ 922100 h 938213"/>
              <a:gd name="connsiteX5" fmla="*/ 748700 w 2206806"/>
              <a:gd name="connsiteY5" fmla="*/ 915331 h 938213"/>
              <a:gd name="connsiteX6" fmla="*/ 0 w 2206806"/>
              <a:gd name="connsiteY6" fmla="*/ 217020 h 938213"/>
              <a:gd name="connsiteX0" fmla="*/ 0 w 2206806"/>
              <a:gd name="connsiteY0" fmla="*/ 367990 h 1089183"/>
              <a:gd name="connsiteX1" fmla="*/ 2206806 w 2206806"/>
              <a:gd name="connsiteY1" fmla="*/ 356121 h 1089183"/>
              <a:gd name="connsiteX2" fmla="*/ 1528645 w 2206806"/>
              <a:gd name="connsiteY2" fmla="*/ 1089183 h 1089183"/>
              <a:gd name="connsiteX3" fmla="*/ 1149084 w 2206806"/>
              <a:gd name="connsiteY3" fmla="*/ 950086 h 1089183"/>
              <a:gd name="connsiteX4" fmla="*/ 753476 w 2206806"/>
              <a:gd name="connsiteY4" fmla="*/ 1073070 h 1089183"/>
              <a:gd name="connsiteX5" fmla="*/ 748700 w 2206806"/>
              <a:gd name="connsiteY5" fmla="*/ 1066301 h 1089183"/>
              <a:gd name="connsiteX6" fmla="*/ 0 w 2206806"/>
              <a:gd name="connsiteY6" fmla="*/ 367990 h 1089183"/>
              <a:gd name="connsiteX0" fmla="*/ 0 w 2206806"/>
              <a:gd name="connsiteY0" fmla="*/ 437333 h 1158526"/>
              <a:gd name="connsiteX1" fmla="*/ 2206806 w 2206806"/>
              <a:gd name="connsiteY1" fmla="*/ 425464 h 1158526"/>
              <a:gd name="connsiteX2" fmla="*/ 1528645 w 2206806"/>
              <a:gd name="connsiteY2" fmla="*/ 1158526 h 1158526"/>
              <a:gd name="connsiteX3" fmla="*/ 1149084 w 2206806"/>
              <a:gd name="connsiteY3" fmla="*/ 1019429 h 1158526"/>
              <a:gd name="connsiteX4" fmla="*/ 753476 w 2206806"/>
              <a:gd name="connsiteY4" fmla="*/ 1142413 h 1158526"/>
              <a:gd name="connsiteX5" fmla="*/ 748700 w 2206806"/>
              <a:gd name="connsiteY5" fmla="*/ 1135644 h 1158526"/>
              <a:gd name="connsiteX6" fmla="*/ 0 w 2206806"/>
              <a:gd name="connsiteY6" fmla="*/ 437333 h 1158526"/>
              <a:gd name="connsiteX0" fmla="*/ 0 w 2206806"/>
              <a:gd name="connsiteY0" fmla="*/ 424464 h 1145657"/>
              <a:gd name="connsiteX1" fmla="*/ 2206806 w 2206806"/>
              <a:gd name="connsiteY1" fmla="*/ 412595 h 1145657"/>
              <a:gd name="connsiteX2" fmla="*/ 1528645 w 2206806"/>
              <a:gd name="connsiteY2" fmla="*/ 1145657 h 1145657"/>
              <a:gd name="connsiteX3" fmla="*/ 1149084 w 2206806"/>
              <a:gd name="connsiteY3" fmla="*/ 1006560 h 1145657"/>
              <a:gd name="connsiteX4" fmla="*/ 753476 w 2206806"/>
              <a:gd name="connsiteY4" fmla="*/ 1129544 h 1145657"/>
              <a:gd name="connsiteX5" fmla="*/ 748700 w 2206806"/>
              <a:gd name="connsiteY5" fmla="*/ 1122775 h 1145657"/>
              <a:gd name="connsiteX6" fmla="*/ 0 w 2206806"/>
              <a:gd name="connsiteY6" fmla="*/ 424464 h 11456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06806" h="1145657">
                <a:moveTo>
                  <a:pt x="0" y="424464"/>
                </a:moveTo>
                <a:cubicBezTo>
                  <a:pt x="499319" y="-95311"/>
                  <a:pt x="1685338" y="-181554"/>
                  <a:pt x="2206806" y="412595"/>
                </a:cubicBezTo>
                <a:lnTo>
                  <a:pt x="1528645" y="1145657"/>
                </a:lnTo>
                <a:cubicBezTo>
                  <a:pt x="1474416" y="1119614"/>
                  <a:pt x="1285302" y="1008543"/>
                  <a:pt x="1149084" y="1006560"/>
                </a:cubicBezTo>
                <a:cubicBezTo>
                  <a:pt x="1012866" y="1004577"/>
                  <a:pt x="873877" y="1063250"/>
                  <a:pt x="753476" y="1129544"/>
                </a:cubicBezTo>
                <a:lnTo>
                  <a:pt x="748700" y="1122775"/>
                </a:lnTo>
                <a:lnTo>
                  <a:pt x="0" y="424464"/>
                </a:lnTo>
                <a:close/>
              </a:path>
            </a:pathLst>
          </a:custGeom>
          <a:solidFill>
            <a:srgbClr val="0070C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369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ьное</a:t>
            </a:r>
          </a:p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369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</a:t>
            </a:r>
          </a:p>
        </p:txBody>
      </p:sp>
      <p:sp>
        <p:nvSpPr>
          <p:cNvPr id="36" name="Овал 35"/>
          <p:cNvSpPr/>
          <p:nvPr/>
        </p:nvSpPr>
        <p:spPr>
          <a:xfrm>
            <a:off x="3836962" y="2299085"/>
            <a:ext cx="1374707" cy="13747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endParaRPr lang="ru-RU" sz="1797">
              <a:solidFill>
                <a:prstClr val="white"/>
              </a:solidFill>
            </a:endParaRPr>
          </a:p>
        </p:txBody>
      </p:sp>
      <p:sp>
        <p:nvSpPr>
          <p:cNvPr id="16" name="Прямоугольник 1"/>
          <p:cNvSpPr/>
          <p:nvPr/>
        </p:nvSpPr>
        <p:spPr>
          <a:xfrm>
            <a:off x="3417060" y="3574987"/>
            <a:ext cx="2199659" cy="1141946"/>
          </a:xfrm>
          <a:custGeom>
            <a:avLst/>
            <a:gdLst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374782 w 1374782"/>
              <a:gd name="connsiteY2" fmla="*/ 397220 h 397220"/>
              <a:gd name="connsiteX3" fmla="*/ 0 w 1374782"/>
              <a:gd name="connsiteY3" fmla="*/ 397220 h 397220"/>
              <a:gd name="connsiteX4" fmla="*/ 0 w 1374782"/>
              <a:gd name="connsiteY4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0 w 1374782"/>
              <a:gd name="connsiteY3" fmla="*/ 397220 h 397220"/>
              <a:gd name="connsiteX4" fmla="*/ 0 w 1374782"/>
              <a:gd name="connsiteY4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302292 w 1374782"/>
              <a:gd name="connsiteY3" fmla="*/ 374688 h 397220"/>
              <a:gd name="connsiteX4" fmla="*/ 0 w 1374782"/>
              <a:gd name="connsiteY4" fmla="*/ 397220 h 397220"/>
              <a:gd name="connsiteX5" fmla="*/ 0 w 1374782"/>
              <a:gd name="connsiteY5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302292 w 1374782"/>
              <a:gd name="connsiteY3" fmla="*/ 374688 h 397220"/>
              <a:gd name="connsiteX4" fmla="*/ 276447 w 1374782"/>
              <a:gd name="connsiteY4" fmla="*/ 397220 h 397220"/>
              <a:gd name="connsiteX5" fmla="*/ 0 w 1374782"/>
              <a:gd name="connsiteY5" fmla="*/ 0 h 397220"/>
              <a:gd name="connsiteX0" fmla="*/ 0 w 1374782"/>
              <a:gd name="connsiteY0" fmla="*/ 0 h 397220"/>
              <a:gd name="connsiteX1" fmla="*/ 1374782 w 1374782"/>
              <a:gd name="connsiteY1" fmla="*/ 0 h 397220"/>
              <a:gd name="connsiteX2" fmla="*/ 1119600 w 1374782"/>
              <a:gd name="connsiteY2" fmla="*/ 386587 h 397220"/>
              <a:gd name="connsiteX3" fmla="*/ 302292 w 1374782"/>
              <a:gd name="connsiteY3" fmla="*/ 374688 h 397220"/>
              <a:gd name="connsiteX4" fmla="*/ 276447 w 1374782"/>
              <a:gd name="connsiteY4" fmla="*/ 397220 h 397220"/>
              <a:gd name="connsiteX5" fmla="*/ 0 w 1374782"/>
              <a:gd name="connsiteY5" fmla="*/ 0 h 397220"/>
              <a:gd name="connsiteX0" fmla="*/ 0 w 1374782"/>
              <a:gd name="connsiteY0" fmla="*/ 80335 h 477555"/>
              <a:gd name="connsiteX1" fmla="*/ 1374782 w 1374782"/>
              <a:gd name="connsiteY1" fmla="*/ 80335 h 477555"/>
              <a:gd name="connsiteX2" fmla="*/ 1119600 w 1374782"/>
              <a:gd name="connsiteY2" fmla="*/ 466922 h 477555"/>
              <a:gd name="connsiteX3" fmla="*/ 302292 w 1374782"/>
              <a:gd name="connsiteY3" fmla="*/ 455023 h 477555"/>
              <a:gd name="connsiteX4" fmla="*/ 276447 w 1374782"/>
              <a:gd name="connsiteY4" fmla="*/ 477555 h 477555"/>
              <a:gd name="connsiteX5" fmla="*/ 0 w 1374782"/>
              <a:gd name="connsiteY5" fmla="*/ 80335 h 477555"/>
              <a:gd name="connsiteX0" fmla="*/ 0 w 1374782"/>
              <a:gd name="connsiteY0" fmla="*/ 80335 h 498820"/>
              <a:gd name="connsiteX1" fmla="*/ 1374782 w 1374782"/>
              <a:gd name="connsiteY1" fmla="*/ 80335 h 498820"/>
              <a:gd name="connsiteX2" fmla="*/ 1119600 w 1374782"/>
              <a:gd name="connsiteY2" fmla="*/ 466922 h 498820"/>
              <a:gd name="connsiteX3" fmla="*/ 302292 w 1374782"/>
              <a:gd name="connsiteY3" fmla="*/ 455023 h 498820"/>
              <a:gd name="connsiteX4" fmla="*/ 276447 w 1374782"/>
              <a:gd name="connsiteY4" fmla="*/ 498820 h 498820"/>
              <a:gd name="connsiteX5" fmla="*/ 0 w 1374782"/>
              <a:gd name="connsiteY5" fmla="*/ 80335 h 498820"/>
              <a:gd name="connsiteX0" fmla="*/ 0 w 1374782"/>
              <a:gd name="connsiteY0" fmla="*/ 80335 h 498820"/>
              <a:gd name="connsiteX1" fmla="*/ 1374782 w 1374782"/>
              <a:gd name="connsiteY1" fmla="*/ 80335 h 498820"/>
              <a:gd name="connsiteX2" fmla="*/ 1119600 w 1374782"/>
              <a:gd name="connsiteY2" fmla="*/ 466922 h 498820"/>
              <a:gd name="connsiteX3" fmla="*/ 706329 w 1374782"/>
              <a:gd name="connsiteY3" fmla="*/ 369963 h 498820"/>
              <a:gd name="connsiteX4" fmla="*/ 302292 w 1374782"/>
              <a:gd name="connsiteY4" fmla="*/ 455023 h 498820"/>
              <a:gd name="connsiteX5" fmla="*/ 276447 w 1374782"/>
              <a:gd name="connsiteY5" fmla="*/ 498820 h 498820"/>
              <a:gd name="connsiteX6" fmla="*/ 0 w 1374782"/>
              <a:gd name="connsiteY6" fmla="*/ 80335 h 498820"/>
              <a:gd name="connsiteX0" fmla="*/ 0 w 1353517"/>
              <a:gd name="connsiteY0" fmla="*/ 93066 h 469021"/>
              <a:gd name="connsiteX1" fmla="*/ 1353517 w 1353517"/>
              <a:gd name="connsiteY1" fmla="*/ 50536 h 469021"/>
              <a:gd name="connsiteX2" fmla="*/ 1098335 w 1353517"/>
              <a:gd name="connsiteY2" fmla="*/ 437123 h 469021"/>
              <a:gd name="connsiteX3" fmla="*/ 685064 w 1353517"/>
              <a:gd name="connsiteY3" fmla="*/ 340164 h 469021"/>
              <a:gd name="connsiteX4" fmla="*/ 281027 w 1353517"/>
              <a:gd name="connsiteY4" fmla="*/ 425224 h 469021"/>
              <a:gd name="connsiteX5" fmla="*/ 255182 w 1353517"/>
              <a:gd name="connsiteY5" fmla="*/ 469021 h 469021"/>
              <a:gd name="connsiteX6" fmla="*/ 0 w 1353517"/>
              <a:gd name="connsiteY6" fmla="*/ 93066 h 469021"/>
              <a:gd name="connsiteX0" fmla="*/ 0 w 1342884"/>
              <a:gd name="connsiteY0" fmla="*/ 77669 h 453624"/>
              <a:gd name="connsiteX1" fmla="*/ 1342884 w 1342884"/>
              <a:gd name="connsiteY1" fmla="*/ 88302 h 453624"/>
              <a:gd name="connsiteX2" fmla="*/ 1098335 w 1342884"/>
              <a:gd name="connsiteY2" fmla="*/ 421726 h 453624"/>
              <a:gd name="connsiteX3" fmla="*/ 685064 w 1342884"/>
              <a:gd name="connsiteY3" fmla="*/ 324767 h 453624"/>
              <a:gd name="connsiteX4" fmla="*/ 281027 w 1342884"/>
              <a:gd name="connsiteY4" fmla="*/ 409827 h 453624"/>
              <a:gd name="connsiteX5" fmla="*/ 255182 w 1342884"/>
              <a:gd name="connsiteY5" fmla="*/ 453624 h 453624"/>
              <a:gd name="connsiteX6" fmla="*/ 0 w 1342884"/>
              <a:gd name="connsiteY6" fmla="*/ 77669 h 453624"/>
              <a:gd name="connsiteX0" fmla="*/ 0 w 1342884"/>
              <a:gd name="connsiteY0" fmla="*/ 77669 h 479968"/>
              <a:gd name="connsiteX1" fmla="*/ 1342884 w 1342884"/>
              <a:gd name="connsiteY1" fmla="*/ 88302 h 479968"/>
              <a:gd name="connsiteX2" fmla="*/ 1043555 w 1342884"/>
              <a:gd name="connsiteY2" fmla="*/ 468078 h 479968"/>
              <a:gd name="connsiteX3" fmla="*/ 685064 w 1342884"/>
              <a:gd name="connsiteY3" fmla="*/ 324767 h 479968"/>
              <a:gd name="connsiteX4" fmla="*/ 281027 w 1342884"/>
              <a:gd name="connsiteY4" fmla="*/ 409827 h 479968"/>
              <a:gd name="connsiteX5" fmla="*/ 255182 w 1342884"/>
              <a:gd name="connsiteY5" fmla="*/ 453624 h 479968"/>
              <a:gd name="connsiteX6" fmla="*/ 0 w 1342884"/>
              <a:gd name="connsiteY6" fmla="*/ 77669 h 479968"/>
              <a:gd name="connsiteX0" fmla="*/ 0 w 1342884"/>
              <a:gd name="connsiteY0" fmla="*/ 77669 h 478723"/>
              <a:gd name="connsiteX1" fmla="*/ 1342884 w 1342884"/>
              <a:gd name="connsiteY1" fmla="*/ 88302 h 478723"/>
              <a:gd name="connsiteX2" fmla="*/ 1043555 w 1342884"/>
              <a:gd name="connsiteY2" fmla="*/ 468078 h 478723"/>
              <a:gd name="connsiteX3" fmla="*/ 685064 w 1342884"/>
              <a:gd name="connsiteY3" fmla="*/ 324767 h 478723"/>
              <a:gd name="connsiteX4" fmla="*/ 281027 w 1342884"/>
              <a:gd name="connsiteY4" fmla="*/ 409827 h 478723"/>
              <a:gd name="connsiteX5" fmla="*/ 255182 w 1342884"/>
              <a:gd name="connsiteY5" fmla="*/ 453624 h 478723"/>
              <a:gd name="connsiteX6" fmla="*/ 0 w 1342884"/>
              <a:gd name="connsiteY6" fmla="*/ 77669 h 478723"/>
              <a:gd name="connsiteX0" fmla="*/ 0 w 1342884"/>
              <a:gd name="connsiteY0" fmla="*/ 77669 h 478723"/>
              <a:gd name="connsiteX1" fmla="*/ 1342884 w 1342884"/>
              <a:gd name="connsiteY1" fmla="*/ 88302 h 478723"/>
              <a:gd name="connsiteX2" fmla="*/ 1043555 w 1342884"/>
              <a:gd name="connsiteY2" fmla="*/ 468078 h 478723"/>
              <a:gd name="connsiteX3" fmla="*/ 685064 w 1342884"/>
              <a:gd name="connsiteY3" fmla="*/ 324767 h 478723"/>
              <a:gd name="connsiteX4" fmla="*/ 259958 w 1342884"/>
              <a:gd name="connsiteY4" fmla="*/ 460393 h 478723"/>
              <a:gd name="connsiteX5" fmla="*/ 255182 w 1342884"/>
              <a:gd name="connsiteY5" fmla="*/ 453624 h 478723"/>
              <a:gd name="connsiteX6" fmla="*/ 0 w 1342884"/>
              <a:gd name="connsiteY6" fmla="*/ 77669 h 478723"/>
              <a:gd name="connsiteX0" fmla="*/ 0 w 1342884"/>
              <a:gd name="connsiteY0" fmla="*/ 77669 h 478723"/>
              <a:gd name="connsiteX1" fmla="*/ 1342884 w 1342884"/>
              <a:gd name="connsiteY1" fmla="*/ 88302 h 478723"/>
              <a:gd name="connsiteX2" fmla="*/ 1043555 w 1342884"/>
              <a:gd name="connsiteY2" fmla="*/ 468078 h 478723"/>
              <a:gd name="connsiteX3" fmla="*/ 685064 w 1342884"/>
              <a:gd name="connsiteY3" fmla="*/ 324767 h 478723"/>
              <a:gd name="connsiteX4" fmla="*/ 259958 w 1342884"/>
              <a:gd name="connsiteY4" fmla="*/ 460393 h 478723"/>
              <a:gd name="connsiteX5" fmla="*/ 255182 w 1342884"/>
              <a:gd name="connsiteY5" fmla="*/ 453624 h 478723"/>
              <a:gd name="connsiteX6" fmla="*/ 0 w 1342884"/>
              <a:gd name="connsiteY6" fmla="*/ 77669 h 478723"/>
              <a:gd name="connsiteX0" fmla="*/ 0 w 1186973"/>
              <a:gd name="connsiteY0" fmla="*/ 44919 h 445973"/>
              <a:gd name="connsiteX1" fmla="*/ 1186973 w 1186973"/>
              <a:gd name="connsiteY1" fmla="*/ 287312 h 445973"/>
              <a:gd name="connsiteX2" fmla="*/ 1043555 w 1186973"/>
              <a:gd name="connsiteY2" fmla="*/ 435328 h 445973"/>
              <a:gd name="connsiteX3" fmla="*/ 685064 w 1186973"/>
              <a:gd name="connsiteY3" fmla="*/ 292017 h 445973"/>
              <a:gd name="connsiteX4" fmla="*/ 259958 w 1186973"/>
              <a:gd name="connsiteY4" fmla="*/ 427643 h 445973"/>
              <a:gd name="connsiteX5" fmla="*/ 255182 w 1186973"/>
              <a:gd name="connsiteY5" fmla="*/ 420874 h 445973"/>
              <a:gd name="connsiteX6" fmla="*/ 0 w 1186973"/>
              <a:gd name="connsiteY6" fmla="*/ 44919 h 445973"/>
              <a:gd name="connsiteX0" fmla="*/ 0 w 1077414"/>
              <a:gd name="connsiteY0" fmla="*/ 78705 h 243784"/>
              <a:gd name="connsiteX1" fmla="*/ 1077414 w 1077414"/>
              <a:gd name="connsiteY1" fmla="*/ 85123 h 243784"/>
              <a:gd name="connsiteX2" fmla="*/ 933996 w 1077414"/>
              <a:gd name="connsiteY2" fmla="*/ 233139 h 243784"/>
              <a:gd name="connsiteX3" fmla="*/ 575505 w 1077414"/>
              <a:gd name="connsiteY3" fmla="*/ 89828 h 243784"/>
              <a:gd name="connsiteX4" fmla="*/ 150399 w 1077414"/>
              <a:gd name="connsiteY4" fmla="*/ 225454 h 243784"/>
              <a:gd name="connsiteX5" fmla="*/ 145623 w 1077414"/>
              <a:gd name="connsiteY5" fmla="*/ 218685 h 243784"/>
              <a:gd name="connsiteX6" fmla="*/ 0 w 1077414"/>
              <a:gd name="connsiteY6" fmla="*/ 78705 h 243784"/>
              <a:gd name="connsiteX0" fmla="*/ 0 w 1077414"/>
              <a:gd name="connsiteY0" fmla="*/ 222889 h 387968"/>
              <a:gd name="connsiteX1" fmla="*/ 1077414 w 1077414"/>
              <a:gd name="connsiteY1" fmla="*/ 229307 h 387968"/>
              <a:gd name="connsiteX2" fmla="*/ 933996 w 1077414"/>
              <a:gd name="connsiteY2" fmla="*/ 377323 h 387968"/>
              <a:gd name="connsiteX3" fmla="*/ 575505 w 1077414"/>
              <a:gd name="connsiteY3" fmla="*/ 234012 h 387968"/>
              <a:gd name="connsiteX4" fmla="*/ 150399 w 1077414"/>
              <a:gd name="connsiteY4" fmla="*/ 369638 h 387968"/>
              <a:gd name="connsiteX5" fmla="*/ 145623 w 1077414"/>
              <a:gd name="connsiteY5" fmla="*/ 362869 h 387968"/>
              <a:gd name="connsiteX6" fmla="*/ 0 w 1077414"/>
              <a:gd name="connsiteY6" fmla="*/ 222889 h 387968"/>
              <a:gd name="connsiteX0" fmla="*/ 0 w 1077414"/>
              <a:gd name="connsiteY0" fmla="*/ 270621 h 435700"/>
              <a:gd name="connsiteX1" fmla="*/ 1077414 w 1077414"/>
              <a:gd name="connsiteY1" fmla="*/ 277039 h 435700"/>
              <a:gd name="connsiteX2" fmla="*/ 933996 w 1077414"/>
              <a:gd name="connsiteY2" fmla="*/ 425055 h 435700"/>
              <a:gd name="connsiteX3" fmla="*/ 575505 w 1077414"/>
              <a:gd name="connsiteY3" fmla="*/ 281744 h 435700"/>
              <a:gd name="connsiteX4" fmla="*/ 150399 w 1077414"/>
              <a:gd name="connsiteY4" fmla="*/ 417370 h 435700"/>
              <a:gd name="connsiteX5" fmla="*/ 145623 w 1077414"/>
              <a:gd name="connsiteY5" fmla="*/ 410601 h 435700"/>
              <a:gd name="connsiteX6" fmla="*/ 0 w 1077414"/>
              <a:gd name="connsiteY6" fmla="*/ 270621 h 435700"/>
              <a:gd name="connsiteX0" fmla="*/ 0 w 1077414"/>
              <a:gd name="connsiteY0" fmla="*/ 167153 h 332232"/>
              <a:gd name="connsiteX1" fmla="*/ 1077414 w 1077414"/>
              <a:gd name="connsiteY1" fmla="*/ 173571 h 332232"/>
              <a:gd name="connsiteX2" fmla="*/ 933996 w 1077414"/>
              <a:gd name="connsiteY2" fmla="*/ 321587 h 332232"/>
              <a:gd name="connsiteX3" fmla="*/ 575505 w 1077414"/>
              <a:gd name="connsiteY3" fmla="*/ 178276 h 332232"/>
              <a:gd name="connsiteX4" fmla="*/ 150399 w 1077414"/>
              <a:gd name="connsiteY4" fmla="*/ 313902 h 332232"/>
              <a:gd name="connsiteX5" fmla="*/ 145623 w 1077414"/>
              <a:gd name="connsiteY5" fmla="*/ 307133 h 332232"/>
              <a:gd name="connsiteX6" fmla="*/ 0 w 1077414"/>
              <a:gd name="connsiteY6" fmla="*/ 167153 h 332232"/>
              <a:gd name="connsiteX0" fmla="*/ 0 w 1077414"/>
              <a:gd name="connsiteY0" fmla="*/ 218112 h 383191"/>
              <a:gd name="connsiteX1" fmla="*/ 1077414 w 1077414"/>
              <a:gd name="connsiteY1" fmla="*/ 224530 h 383191"/>
              <a:gd name="connsiteX2" fmla="*/ 933996 w 1077414"/>
              <a:gd name="connsiteY2" fmla="*/ 372546 h 383191"/>
              <a:gd name="connsiteX3" fmla="*/ 575505 w 1077414"/>
              <a:gd name="connsiteY3" fmla="*/ 229235 h 383191"/>
              <a:gd name="connsiteX4" fmla="*/ 150399 w 1077414"/>
              <a:gd name="connsiteY4" fmla="*/ 364861 h 383191"/>
              <a:gd name="connsiteX5" fmla="*/ 145623 w 1077414"/>
              <a:gd name="connsiteY5" fmla="*/ 358092 h 383191"/>
              <a:gd name="connsiteX6" fmla="*/ 0 w 1077414"/>
              <a:gd name="connsiteY6" fmla="*/ 218112 h 383191"/>
              <a:gd name="connsiteX0" fmla="*/ 0 w 1077414"/>
              <a:gd name="connsiteY0" fmla="*/ 202064 h 367143"/>
              <a:gd name="connsiteX1" fmla="*/ 1077414 w 1077414"/>
              <a:gd name="connsiteY1" fmla="*/ 208482 h 367143"/>
              <a:gd name="connsiteX2" fmla="*/ 933996 w 1077414"/>
              <a:gd name="connsiteY2" fmla="*/ 356498 h 367143"/>
              <a:gd name="connsiteX3" fmla="*/ 575505 w 1077414"/>
              <a:gd name="connsiteY3" fmla="*/ 213187 h 367143"/>
              <a:gd name="connsiteX4" fmla="*/ 150399 w 1077414"/>
              <a:gd name="connsiteY4" fmla="*/ 348813 h 367143"/>
              <a:gd name="connsiteX5" fmla="*/ 145623 w 1077414"/>
              <a:gd name="connsiteY5" fmla="*/ 342044 h 367143"/>
              <a:gd name="connsiteX6" fmla="*/ 0 w 1077414"/>
              <a:gd name="connsiteY6" fmla="*/ 202064 h 367143"/>
              <a:gd name="connsiteX0" fmla="*/ 0 w 1077414"/>
              <a:gd name="connsiteY0" fmla="*/ 202064 h 366959"/>
              <a:gd name="connsiteX1" fmla="*/ 1077414 w 1077414"/>
              <a:gd name="connsiteY1" fmla="*/ 208482 h 366959"/>
              <a:gd name="connsiteX2" fmla="*/ 933996 w 1077414"/>
              <a:gd name="connsiteY2" fmla="*/ 356498 h 366959"/>
              <a:gd name="connsiteX3" fmla="*/ 533366 w 1077414"/>
              <a:gd name="connsiteY3" fmla="*/ 208973 h 366959"/>
              <a:gd name="connsiteX4" fmla="*/ 150399 w 1077414"/>
              <a:gd name="connsiteY4" fmla="*/ 348813 h 366959"/>
              <a:gd name="connsiteX5" fmla="*/ 145623 w 1077414"/>
              <a:gd name="connsiteY5" fmla="*/ 342044 h 366959"/>
              <a:gd name="connsiteX6" fmla="*/ 0 w 1077414"/>
              <a:gd name="connsiteY6" fmla="*/ 202064 h 366959"/>
              <a:gd name="connsiteX0" fmla="*/ 0 w 1077414"/>
              <a:gd name="connsiteY0" fmla="*/ 202064 h 354891"/>
              <a:gd name="connsiteX1" fmla="*/ 1077414 w 1077414"/>
              <a:gd name="connsiteY1" fmla="*/ 208482 h 354891"/>
              <a:gd name="connsiteX2" fmla="*/ 900285 w 1077414"/>
              <a:gd name="connsiteY2" fmla="*/ 343857 h 354891"/>
              <a:gd name="connsiteX3" fmla="*/ 533366 w 1077414"/>
              <a:gd name="connsiteY3" fmla="*/ 208973 h 354891"/>
              <a:gd name="connsiteX4" fmla="*/ 150399 w 1077414"/>
              <a:gd name="connsiteY4" fmla="*/ 348813 h 354891"/>
              <a:gd name="connsiteX5" fmla="*/ 145623 w 1077414"/>
              <a:gd name="connsiteY5" fmla="*/ 342044 h 354891"/>
              <a:gd name="connsiteX6" fmla="*/ 0 w 1077414"/>
              <a:gd name="connsiteY6" fmla="*/ 202064 h 354891"/>
              <a:gd name="connsiteX0" fmla="*/ 0 w 1077414"/>
              <a:gd name="connsiteY0" fmla="*/ 202064 h 348813"/>
              <a:gd name="connsiteX1" fmla="*/ 1077414 w 1077414"/>
              <a:gd name="connsiteY1" fmla="*/ 208482 h 348813"/>
              <a:gd name="connsiteX2" fmla="*/ 900285 w 1077414"/>
              <a:gd name="connsiteY2" fmla="*/ 343857 h 348813"/>
              <a:gd name="connsiteX3" fmla="*/ 533366 w 1077414"/>
              <a:gd name="connsiteY3" fmla="*/ 208973 h 348813"/>
              <a:gd name="connsiteX4" fmla="*/ 150399 w 1077414"/>
              <a:gd name="connsiteY4" fmla="*/ 348813 h 348813"/>
              <a:gd name="connsiteX5" fmla="*/ 145623 w 1077414"/>
              <a:gd name="connsiteY5" fmla="*/ 342044 h 348813"/>
              <a:gd name="connsiteX6" fmla="*/ 0 w 1077414"/>
              <a:gd name="connsiteY6" fmla="*/ 202064 h 348813"/>
              <a:gd name="connsiteX0" fmla="*/ 0 w 1077414"/>
              <a:gd name="connsiteY0" fmla="*/ 202064 h 364926"/>
              <a:gd name="connsiteX1" fmla="*/ 1077414 w 1077414"/>
              <a:gd name="connsiteY1" fmla="*/ 208482 h 364926"/>
              <a:gd name="connsiteX2" fmla="*/ 925568 w 1077414"/>
              <a:gd name="connsiteY2" fmla="*/ 364926 h 364926"/>
              <a:gd name="connsiteX3" fmla="*/ 533366 w 1077414"/>
              <a:gd name="connsiteY3" fmla="*/ 208973 h 364926"/>
              <a:gd name="connsiteX4" fmla="*/ 150399 w 1077414"/>
              <a:gd name="connsiteY4" fmla="*/ 348813 h 364926"/>
              <a:gd name="connsiteX5" fmla="*/ 145623 w 1077414"/>
              <a:gd name="connsiteY5" fmla="*/ 342044 h 364926"/>
              <a:gd name="connsiteX6" fmla="*/ 0 w 1077414"/>
              <a:gd name="connsiteY6" fmla="*/ 202064 h 364926"/>
              <a:gd name="connsiteX0" fmla="*/ 0 w 1077414"/>
              <a:gd name="connsiteY0" fmla="*/ 202064 h 364926"/>
              <a:gd name="connsiteX1" fmla="*/ 1077414 w 1077414"/>
              <a:gd name="connsiteY1" fmla="*/ 208482 h 364926"/>
              <a:gd name="connsiteX2" fmla="*/ 925568 w 1077414"/>
              <a:gd name="connsiteY2" fmla="*/ 364926 h 364926"/>
              <a:gd name="connsiteX3" fmla="*/ 546007 w 1077414"/>
              <a:gd name="connsiteY3" fmla="*/ 225829 h 364926"/>
              <a:gd name="connsiteX4" fmla="*/ 150399 w 1077414"/>
              <a:gd name="connsiteY4" fmla="*/ 348813 h 364926"/>
              <a:gd name="connsiteX5" fmla="*/ 145623 w 1077414"/>
              <a:gd name="connsiteY5" fmla="*/ 342044 h 364926"/>
              <a:gd name="connsiteX6" fmla="*/ 0 w 1077414"/>
              <a:gd name="connsiteY6" fmla="*/ 202064 h 364926"/>
              <a:gd name="connsiteX0" fmla="*/ 0 w 1077414"/>
              <a:gd name="connsiteY0" fmla="*/ 208754 h 371616"/>
              <a:gd name="connsiteX1" fmla="*/ 1077414 w 1077414"/>
              <a:gd name="connsiteY1" fmla="*/ 215172 h 371616"/>
              <a:gd name="connsiteX2" fmla="*/ 925568 w 1077414"/>
              <a:gd name="connsiteY2" fmla="*/ 371616 h 371616"/>
              <a:gd name="connsiteX3" fmla="*/ 546007 w 1077414"/>
              <a:gd name="connsiteY3" fmla="*/ 232519 h 371616"/>
              <a:gd name="connsiteX4" fmla="*/ 150399 w 1077414"/>
              <a:gd name="connsiteY4" fmla="*/ 355503 h 371616"/>
              <a:gd name="connsiteX5" fmla="*/ 145623 w 1077414"/>
              <a:gd name="connsiteY5" fmla="*/ 348734 h 371616"/>
              <a:gd name="connsiteX6" fmla="*/ 0 w 1077414"/>
              <a:gd name="connsiteY6" fmla="*/ 208754 h 371616"/>
              <a:gd name="connsiteX0" fmla="*/ 0 w 1077414"/>
              <a:gd name="connsiteY0" fmla="*/ 212262 h 375124"/>
              <a:gd name="connsiteX1" fmla="*/ 1077414 w 1077414"/>
              <a:gd name="connsiteY1" fmla="*/ 218680 h 375124"/>
              <a:gd name="connsiteX2" fmla="*/ 925568 w 1077414"/>
              <a:gd name="connsiteY2" fmla="*/ 375124 h 375124"/>
              <a:gd name="connsiteX3" fmla="*/ 546007 w 1077414"/>
              <a:gd name="connsiteY3" fmla="*/ 236027 h 375124"/>
              <a:gd name="connsiteX4" fmla="*/ 150399 w 1077414"/>
              <a:gd name="connsiteY4" fmla="*/ 359011 h 375124"/>
              <a:gd name="connsiteX5" fmla="*/ 145623 w 1077414"/>
              <a:gd name="connsiteY5" fmla="*/ 352242 h 375124"/>
              <a:gd name="connsiteX6" fmla="*/ 0 w 1077414"/>
              <a:gd name="connsiteY6" fmla="*/ 212262 h 375124"/>
              <a:gd name="connsiteX0" fmla="*/ 0 w 1077414"/>
              <a:gd name="connsiteY0" fmla="*/ 209580 h 372442"/>
              <a:gd name="connsiteX1" fmla="*/ 1077414 w 1077414"/>
              <a:gd name="connsiteY1" fmla="*/ 215998 h 372442"/>
              <a:gd name="connsiteX2" fmla="*/ 925568 w 1077414"/>
              <a:gd name="connsiteY2" fmla="*/ 372442 h 372442"/>
              <a:gd name="connsiteX3" fmla="*/ 546007 w 1077414"/>
              <a:gd name="connsiteY3" fmla="*/ 233345 h 372442"/>
              <a:gd name="connsiteX4" fmla="*/ 150399 w 1077414"/>
              <a:gd name="connsiteY4" fmla="*/ 356329 h 372442"/>
              <a:gd name="connsiteX5" fmla="*/ 145623 w 1077414"/>
              <a:gd name="connsiteY5" fmla="*/ 349560 h 372442"/>
              <a:gd name="connsiteX6" fmla="*/ 0 w 1077414"/>
              <a:gd name="connsiteY6" fmla="*/ 209580 h 372442"/>
              <a:gd name="connsiteX0" fmla="*/ 0 w 1252979"/>
              <a:gd name="connsiteY0" fmla="*/ 151796 h 504853"/>
              <a:gd name="connsiteX1" fmla="*/ 1252979 w 1252979"/>
              <a:gd name="connsiteY1" fmla="*/ 348409 h 504853"/>
              <a:gd name="connsiteX2" fmla="*/ 1101133 w 1252979"/>
              <a:gd name="connsiteY2" fmla="*/ 504853 h 504853"/>
              <a:gd name="connsiteX3" fmla="*/ 721572 w 1252979"/>
              <a:gd name="connsiteY3" fmla="*/ 365756 h 504853"/>
              <a:gd name="connsiteX4" fmla="*/ 325964 w 1252979"/>
              <a:gd name="connsiteY4" fmla="*/ 488740 h 504853"/>
              <a:gd name="connsiteX5" fmla="*/ 321188 w 1252979"/>
              <a:gd name="connsiteY5" fmla="*/ 481971 h 504853"/>
              <a:gd name="connsiteX6" fmla="*/ 0 w 1252979"/>
              <a:gd name="connsiteY6" fmla="*/ 151796 h 504853"/>
              <a:gd name="connsiteX0" fmla="*/ 0 w 1399283"/>
              <a:gd name="connsiteY0" fmla="*/ 217020 h 570077"/>
              <a:gd name="connsiteX1" fmla="*/ 1399283 w 1399283"/>
              <a:gd name="connsiteY1" fmla="*/ 205150 h 570077"/>
              <a:gd name="connsiteX2" fmla="*/ 1101133 w 1399283"/>
              <a:gd name="connsiteY2" fmla="*/ 570077 h 570077"/>
              <a:gd name="connsiteX3" fmla="*/ 721572 w 1399283"/>
              <a:gd name="connsiteY3" fmla="*/ 430980 h 570077"/>
              <a:gd name="connsiteX4" fmla="*/ 325964 w 1399283"/>
              <a:gd name="connsiteY4" fmla="*/ 553964 h 570077"/>
              <a:gd name="connsiteX5" fmla="*/ 321188 w 1399283"/>
              <a:gd name="connsiteY5" fmla="*/ 547195 h 570077"/>
              <a:gd name="connsiteX6" fmla="*/ 0 w 1399283"/>
              <a:gd name="connsiteY6" fmla="*/ 217020 h 570077"/>
              <a:gd name="connsiteX0" fmla="*/ 0 w 1384652"/>
              <a:gd name="connsiteY0" fmla="*/ 208139 h 561196"/>
              <a:gd name="connsiteX1" fmla="*/ 1384652 w 1384652"/>
              <a:gd name="connsiteY1" fmla="*/ 218215 h 561196"/>
              <a:gd name="connsiteX2" fmla="*/ 1101133 w 1384652"/>
              <a:gd name="connsiteY2" fmla="*/ 561196 h 561196"/>
              <a:gd name="connsiteX3" fmla="*/ 721572 w 1384652"/>
              <a:gd name="connsiteY3" fmla="*/ 422099 h 561196"/>
              <a:gd name="connsiteX4" fmla="*/ 325964 w 1384652"/>
              <a:gd name="connsiteY4" fmla="*/ 545083 h 561196"/>
              <a:gd name="connsiteX5" fmla="*/ 321188 w 1384652"/>
              <a:gd name="connsiteY5" fmla="*/ 538314 h 561196"/>
              <a:gd name="connsiteX6" fmla="*/ 0 w 1384652"/>
              <a:gd name="connsiteY6" fmla="*/ 208139 h 561196"/>
              <a:gd name="connsiteX0" fmla="*/ 0 w 1399283"/>
              <a:gd name="connsiteY0" fmla="*/ 217020 h 570077"/>
              <a:gd name="connsiteX1" fmla="*/ 1399283 w 1399283"/>
              <a:gd name="connsiteY1" fmla="*/ 205150 h 570077"/>
              <a:gd name="connsiteX2" fmla="*/ 1101133 w 1399283"/>
              <a:gd name="connsiteY2" fmla="*/ 570077 h 570077"/>
              <a:gd name="connsiteX3" fmla="*/ 721572 w 1399283"/>
              <a:gd name="connsiteY3" fmla="*/ 430980 h 570077"/>
              <a:gd name="connsiteX4" fmla="*/ 325964 w 1399283"/>
              <a:gd name="connsiteY4" fmla="*/ 553964 h 570077"/>
              <a:gd name="connsiteX5" fmla="*/ 321188 w 1399283"/>
              <a:gd name="connsiteY5" fmla="*/ 547195 h 570077"/>
              <a:gd name="connsiteX6" fmla="*/ 0 w 1399283"/>
              <a:gd name="connsiteY6" fmla="*/ 217020 h 570077"/>
              <a:gd name="connsiteX0" fmla="*/ 0 w 1826795"/>
              <a:gd name="connsiteY0" fmla="*/ 121940 h 843133"/>
              <a:gd name="connsiteX1" fmla="*/ 1826795 w 1826795"/>
              <a:gd name="connsiteY1" fmla="*/ 478206 h 843133"/>
              <a:gd name="connsiteX2" fmla="*/ 1528645 w 1826795"/>
              <a:gd name="connsiteY2" fmla="*/ 843133 h 843133"/>
              <a:gd name="connsiteX3" fmla="*/ 1149084 w 1826795"/>
              <a:gd name="connsiteY3" fmla="*/ 704036 h 843133"/>
              <a:gd name="connsiteX4" fmla="*/ 753476 w 1826795"/>
              <a:gd name="connsiteY4" fmla="*/ 827020 h 843133"/>
              <a:gd name="connsiteX5" fmla="*/ 748700 w 1826795"/>
              <a:gd name="connsiteY5" fmla="*/ 820251 h 843133"/>
              <a:gd name="connsiteX6" fmla="*/ 0 w 1826795"/>
              <a:gd name="connsiteY6" fmla="*/ 121940 h 843133"/>
              <a:gd name="connsiteX0" fmla="*/ 0 w 2206806"/>
              <a:gd name="connsiteY0" fmla="*/ 217020 h 938213"/>
              <a:gd name="connsiteX1" fmla="*/ 2206806 w 2206806"/>
              <a:gd name="connsiteY1" fmla="*/ 205151 h 938213"/>
              <a:gd name="connsiteX2" fmla="*/ 1528645 w 2206806"/>
              <a:gd name="connsiteY2" fmla="*/ 938213 h 938213"/>
              <a:gd name="connsiteX3" fmla="*/ 1149084 w 2206806"/>
              <a:gd name="connsiteY3" fmla="*/ 799116 h 938213"/>
              <a:gd name="connsiteX4" fmla="*/ 753476 w 2206806"/>
              <a:gd name="connsiteY4" fmla="*/ 922100 h 938213"/>
              <a:gd name="connsiteX5" fmla="*/ 748700 w 2206806"/>
              <a:gd name="connsiteY5" fmla="*/ 915331 h 938213"/>
              <a:gd name="connsiteX6" fmla="*/ 0 w 2206806"/>
              <a:gd name="connsiteY6" fmla="*/ 217020 h 938213"/>
              <a:gd name="connsiteX0" fmla="*/ 0 w 2206806"/>
              <a:gd name="connsiteY0" fmla="*/ 367990 h 1089183"/>
              <a:gd name="connsiteX1" fmla="*/ 2206806 w 2206806"/>
              <a:gd name="connsiteY1" fmla="*/ 356121 h 1089183"/>
              <a:gd name="connsiteX2" fmla="*/ 1528645 w 2206806"/>
              <a:gd name="connsiteY2" fmla="*/ 1089183 h 1089183"/>
              <a:gd name="connsiteX3" fmla="*/ 1149084 w 2206806"/>
              <a:gd name="connsiteY3" fmla="*/ 950086 h 1089183"/>
              <a:gd name="connsiteX4" fmla="*/ 753476 w 2206806"/>
              <a:gd name="connsiteY4" fmla="*/ 1073070 h 1089183"/>
              <a:gd name="connsiteX5" fmla="*/ 748700 w 2206806"/>
              <a:gd name="connsiteY5" fmla="*/ 1066301 h 1089183"/>
              <a:gd name="connsiteX6" fmla="*/ 0 w 2206806"/>
              <a:gd name="connsiteY6" fmla="*/ 367990 h 1089183"/>
              <a:gd name="connsiteX0" fmla="*/ 0 w 2206806"/>
              <a:gd name="connsiteY0" fmla="*/ 437333 h 1158526"/>
              <a:gd name="connsiteX1" fmla="*/ 2206806 w 2206806"/>
              <a:gd name="connsiteY1" fmla="*/ 425464 h 1158526"/>
              <a:gd name="connsiteX2" fmla="*/ 1528645 w 2206806"/>
              <a:gd name="connsiteY2" fmla="*/ 1158526 h 1158526"/>
              <a:gd name="connsiteX3" fmla="*/ 1149084 w 2206806"/>
              <a:gd name="connsiteY3" fmla="*/ 1019429 h 1158526"/>
              <a:gd name="connsiteX4" fmla="*/ 753476 w 2206806"/>
              <a:gd name="connsiteY4" fmla="*/ 1142413 h 1158526"/>
              <a:gd name="connsiteX5" fmla="*/ 748700 w 2206806"/>
              <a:gd name="connsiteY5" fmla="*/ 1135644 h 1158526"/>
              <a:gd name="connsiteX6" fmla="*/ 0 w 2206806"/>
              <a:gd name="connsiteY6" fmla="*/ 437333 h 1158526"/>
              <a:gd name="connsiteX0" fmla="*/ 0 w 2206806"/>
              <a:gd name="connsiteY0" fmla="*/ 424464 h 1145657"/>
              <a:gd name="connsiteX1" fmla="*/ 2206806 w 2206806"/>
              <a:gd name="connsiteY1" fmla="*/ 412595 h 1145657"/>
              <a:gd name="connsiteX2" fmla="*/ 1528645 w 2206806"/>
              <a:gd name="connsiteY2" fmla="*/ 1145657 h 1145657"/>
              <a:gd name="connsiteX3" fmla="*/ 1149084 w 2206806"/>
              <a:gd name="connsiteY3" fmla="*/ 1006560 h 1145657"/>
              <a:gd name="connsiteX4" fmla="*/ 753476 w 2206806"/>
              <a:gd name="connsiteY4" fmla="*/ 1129544 h 1145657"/>
              <a:gd name="connsiteX5" fmla="*/ 748700 w 2206806"/>
              <a:gd name="connsiteY5" fmla="*/ 1122775 h 1145657"/>
              <a:gd name="connsiteX6" fmla="*/ 0 w 2206806"/>
              <a:gd name="connsiteY6" fmla="*/ 424464 h 11456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06806" h="1145657">
                <a:moveTo>
                  <a:pt x="0" y="424464"/>
                </a:moveTo>
                <a:cubicBezTo>
                  <a:pt x="499319" y="-95311"/>
                  <a:pt x="1685338" y="-181554"/>
                  <a:pt x="2206806" y="412595"/>
                </a:cubicBezTo>
                <a:lnTo>
                  <a:pt x="1528645" y="1145657"/>
                </a:lnTo>
                <a:cubicBezTo>
                  <a:pt x="1474416" y="1119614"/>
                  <a:pt x="1285302" y="1008543"/>
                  <a:pt x="1149084" y="1006560"/>
                </a:cubicBezTo>
                <a:cubicBezTo>
                  <a:pt x="1012866" y="1004577"/>
                  <a:pt x="873877" y="1063250"/>
                  <a:pt x="753476" y="1129544"/>
                </a:cubicBezTo>
                <a:lnTo>
                  <a:pt x="748700" y="1122775"/>
                </a:lnTo>
                <a:lnTo>
                  <a:pt x="0" y="424464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369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гральный</a:t>
            </a:r>
          </a:p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369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ур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6030" y="2455736"/>
            <a:ext cx="1048139" cy="1048139"/>
          </a:xfrm>
          <a:prstGeom prst="rect">
            <a:avLst/>
          </a:prstGeom>
        </p:spPr>
      </p:pic>
      <p:sp>
        <p:nvSpPr>
          <p:cNvPr id="18" name="Скругленный прямоугольник 17"/>
          <p:cNvSpPr/>
          <p:nvPr/>
        </p:nvSpPr>
        <p:spPr>
          <a:xfrm>
            <a:off x="611556" y="1592951"/>
            <a:ext cx="2155829" cy="400368"/>
          </a:xfrm>
          <a:prstGeom prst="roundRect">
            <a:avLst/>
          </a:prstGeom>
          <a:solidFill>
            <a:schemeClr val="accent1">
              <a:lumMod val="5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вердрафт для ГК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87336" y="2251049"/>
            <a:ext cx="2155829" cy="400368"/>
          </a:xfrm>
          <a:prstGeom prst="roundRect">
            <a:avLst/>
          </a:prstGeom>
          <a:solidFill>
            <a:schemeClr val="accent1">
              <a:lumMod val="5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енсация % расходов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45403" y="2909147"/>
            <a:ext cx="2155829" cy="400368"/>
          </a:xfrm>
          <a:prstGeom prst="roundRect">
            <a:avLst/>
          </a:prstGeom>
          <a:solidFill>
            <a:schemeClr val="accent1">
              <a:lumMod val="5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ый остаток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428620" y="3567244"/>
            <a:ext cx="2155829" cy="400368"/>
          </a:xfrm>
          <a:prstGeom prst="roundRect">
            <a:avLst/>
          </a:prstGeom>
          <a:solidFill>
            <a:schemeClr val="accent1">
              <a:lumMod val="5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бюджета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725822" y="4225343"/>
            <a:ext cx="2155829" cy="400368"/>
          </a:xfrm>
          <a:prstGeom prst="roundRect">
            <a:avLst/>
          </a:prstGeom>
          <a:solidFill>
            <a:schemeClr val="accent1">
              <a:lumMod val="5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дентификация платежей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829884" y="665018"/>
            <a:ext cx="2155829" cy="400368"/>
          </a:xfrm>
          <a:prstGeom prst="roundRect">
            <a:avLst/>
          </a:prstGeom>
          <a:solidFill>
            <a:srgbClr val="0070C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kern="21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епт и мониторинг платежей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 flipH="1">
            <a:off x="6312332" y="1598314"/>
            <a:ext cx="2155829" cy="400368"/>
          </a:xfrm>
          <a:prstGeom prst="roundRect">
            <a:avLst/>
          </a:prstGeom>
          <a:solidFill>
            <a:srgbClr val="00BB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kern="1800" spc="-26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епт и мониторинг платежей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 flipH="1">
            <a:off x="6512800" y="2255058"/>
            <a:ext cx="2155829" cy="400368"/>
          </a:xfrm>
          <a:prstGeom prst="roundRect">
            <a:avLst/>
          </a:prstGeom>
          <a:solidFill>
            <a:srgbClr val="00BB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ежный календарь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 flipH="1">
            <a:off x="6541919" y="2911801"/>
            <a:ext cx="2155829" cy="400368"/>
          </a:xfrm>
          <a:prstGeom prst="roundRect">
            <a:avLst/>
          </a:prstGeom>
          <a:solidFill>
            <a:srgbClr val="00BB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одная выписка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 flipH="1">
            <a:off x="6472148" y="3568545"/>
            <a:ext cx="2155829" cy="400368"/>
          </a:xfrm>
          <a:prstGeom prst="roundRect">
            <a:avLst/>
          </a:prstGeom>
          <a:solidFill>
            <a:srgbClr val="00BB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версия онлайн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 flipH="1">
            <a:off x="6162020" y="4225287"/>
            <a:ext cx="2155829" cy="400368"/>
          </a:xfrm>
          <a:prstGeom prst="roundRect">
            <a:avLst/>
          </a:prstGeom>
          <a:solidFill>
            <a:srgbClr val="00BB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озиты онлайн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1808341" y="5003417"/>
            <a:ext cx="2165751" cy="402287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ение информации в формате </a:t>
            </a:r>
            <a:r>
              <a:rPr lang="en-US" sz="119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WIFT</a:t>
            </a:r>
            <a:endParaRPr lang="ru-RU" sz="119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5164460" y="5013575"/>
            <a:ext cx="2155829" cy="400368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ямая интеграция </a:t>
            </a:r>
          </a:p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1С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3485836" y="5649525"/>
            <a:ext cx="2016026" cy="466797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797" dirty="0">
                <a:solidFill>
                  <a:prstClr val="white"/>
                </a:solidFill>
              </a:rPr>
              <a:t>Бизнес </a:t>
            </a:r>
            <a:r>
              <a:rPr lang="en-US" sz="1797" dirty="0">
                <a:solidFill>
                  <a:prstClr val="white"/>
                </a:solidFill>
              </a:rPr>
              <a:t>Card</a:t>
            </a:r>
            <a:endParaRPr lang="ru-RU" sz="1797" dirty="0">
              <a:solidFill>
                <a:prstClr val="white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337971" y="5224522"/>
            <a:ext cx="406371" cy="4608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en-US" sz="2395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endParaRPr lang="ru-RU" sz="2395" b="1" dirty="0">
              <a:solidFill>
                <a:prstClr val="black">
                  <a:lumMod val="50000"/>
                  <a:lumOff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5134454" y="671213"/>
            <a:ext cx="2155829" cy="400368"/>
          </a:xfrm>
          <a:prstGeom prst="roundRect">
            <a:avLst/>
          </a:prstGeom>
          <a:solidFill>
            <a:srgbClr val="0070C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98" kern="2100" spc="-86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олидированная финансовая информация по ГК</a:t>
            </a:r>
          </a:p>
        </p:txBody>
      </p:sp>
    </p:spTree>
    <p:extLst>
      <p:ext uri="{BB962C8B-B14F-4D97-AF65-F5344CB8AC3E}">
        <p14:creationId xmlns:p14="http://schemas.microsoft.com/office/powerpoint/2010/main" val="955772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3" grpId="0" animBg="1"/>
      <p:bldP spid="12" grpId="0" animBg="1"/>
      <p:bldP spid="11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/>
      <p:bldP spid="3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587469" y="5368332"/>
            <a:ext cx="2991492" cy="947877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46089" fontAlgn="auto">
              <a:spcBef>
                <a:spcPts val="0"/>
              </a:spcBef>
              <a:spcAft>
                <a:spcPts val="0"/>
              </a:spcAft>
            </a:pPr>
            <a:endParaRPr lang="ru-RU" sz="1797">
              <a:solidFill>
                <a:prstClr val="white"/>
              </a:solidFill>
            </a:endParaRPr>
          </a:p>
        </p:txBody>
      </p:sp>
      <p:sp>
        <p:nvSpPr>
          <p:cNvPr id="4" name="Название 3"/>
          <p:cNvSpPr>
            <a:spLocks noGrp="1"/>
          </p:cNvSpPr>
          <p:nvPr>
            <p:ph type="title"/>
          </p:nvPr>
        </p:nvSpPr>
        <p:spPr>
          <a:xfrm>
            <a:off x="240694" y="705329"/>
            <a:ext cx="5338268" cy="621473"/>
          </a:xfrm>
        </p:spPr>
        <p:txBody>
          <a:bodyPr>
            <a:normAutofit fontScale="90000"/>
          </a:bodyPr>
          <a:lstStyle/>
          <a:p>
            <a:r>
              <a:rPr lang="ru-RU" sz="1711" dirty="0">
                <a:solidFill>
                  <a:srgbClr val="0072BC"/>
                </a:solidFill>
              </a:rPr>
              <a:t>СПЕЦИАЛЬНОЕ ПРЕДЛОЖЕНИЕ ДЛЯ КЛИЕНТОВ</a:t>
            </a:r>
            <a:br>
              <a:rPr lang="ru-RU" sz="1711" dirty="0">
                <a:solidFill>
                  <a:srgbClr val="0072BC"/>
                </a:solidFill>
              </a:rPr>
            </a:br>
            <a:r>
              <a:rPr lang="ru-RU" sz="1711" dirty="0">
                <a:solidFill>
                  <a:srgbClr val="0072BC"/>
                </a:solidFill>
              </a:rPr>
              <a:t>КОМПАНИИ «ПЕРЕДОВЫЕ ПЛАТЕЖНЫЕ РЕШЕНИЯ»</a:t>
            </a:r>
            <a:br>
              <a:rPr lang="ru-RU" sz="1711" dirty="0">
                <a:solidFill>
                  <a:srgbClr val="0072BC"/>
                </a:solidFill>
              </a:rPr>
            </a:br>
            <a:r>
              <a:rPr lang="ru-RU" sz="1711" dirty="0">
                <a:solidFill>
                  <a:srgbClr val="58595B"/>
                </a:solidFill>
              </a:rPr>
              <a:t>В БАНКЕ «ФК ОТКРЫТИЕ»</a:t>
            </a:r>
            <a:br>
              <a:rPr lang="ru-RU" sz="1711" dirty="0">
                <a:solidFill>
                  <a:srgbClr val="58595B"/>
                </a:solidFill>
              </a:rPr>
            </a:br>
            <a:endParaRPr lang="ru-RU" sz="1711" dirty="0">
              <a:solidFill>
                <a:srgbClr val="58595B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7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100" name="Picture 4" descr="Y:\COMMON.DOKB\Ребрендинг\Фирменный стиль\photobank new\1691-small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44343" y="194037"/>
            <a:ext cx="3399657" cy="6469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Номер слайда 5"/>
          <p:cNvSpPr txBox="1">
            <a:spLocks/>
          </p:cNvSpPr>
          <p:nvPr/>
        </p:nvSpPr>
        <p:spPr>
          <a:xfrm>
            <a:off x="6565323" y="5971745"/>
            <a:ext cx="2133600" cy="344464"/>
          </a:xfrm>
          <a:prstGeom prst="rect">
            <a:avLst/>
          </a:prstGeom>
        </p:spPr>
        <p:txBody>
          <a:bodyPr vert="horz" lIns="89216" tIns="44609" rIns="89216" bIns="44609" rtlCol="0" anchor="ctr"/>
          <a:lstStyle>
            <a:defPPr>
              <a:defRPr lang="ru-RU"/>
            </a:defPPr>
            <a:lvl1pPr marL="0" algn="r" defTabSz="521437" rtl="0" eaLnBrk="1" latinLnBrk="0" hangingPunct="1">
              <a:defRPr sz="2000" b="0" i="0" kern="1200">
                <a:solidFill>
                  <a:schemeClr val="tx1">
                    <a:tint val="75000"/>
                  </a:schemeClr>
                </a:solidFill>
                <a:latin typeface="Whitney Book"/>
                <a:ea typeface="+mn-ea"/>
                <a:cs typeface="Whitney Book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409BC02-EF9C-2045-9FAB-AA3720308774}" type="slidenum">
              <a:rPr lang="ru-RU" sz="1198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9</a:t>
            </a:fld>
            <a:endParaRPr lang="ru-RU" sz="119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43849" y="1592149"/>
            <a:ext cx="4796704" cy="3686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Открытие счета 					Бесплатно</a:t>
            </a: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ru-RU" sz="1112" dirty="0">
              <a:solidFill>
                <a:srgbClr val="58595B"/>
              </a:solidFill>
              <a:latin typeface="Arial" pitchFamily="34" charset="0"/>
              <a:cs typeface="Arial" pitchFamily="34" charset="0"/>
            </a:endParaRP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Ведение счета						1 000 руб. </a:t>
            </a:r>
            <a:r>
              <a:rPr lang="en-US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 мес.       </a:t>
            </a: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ru-RU" sz="1112" dirty="0">
              <a:solidFill>
                <a:srgbClr val="58595B"/>
              </a:solidFill>
              <a:latin typeface="Arial" pitchFamily="34" charset="0"/>
              <a:cs typeface="Arial" pitchFamily="34" charset="0"/>
            </a:endParaRP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Подключение ДБО					Бесплатно</a:t>
            </a: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ru-RU" sz="1112" dirty="0">
              <a:solidFill>
                <a:srgbClr val="58595B"/>
              </a:solidFill>
              <a:latin typeface="Arial" pitchFamily="34" charset="0"/>
              <a:cs typeface="Arial" pitchFamily="34" charset="0"/>
            </a:endParaRP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Абонентская плата за ДБО				500 руб. </a:t>
            </a:r>
            <a:r>
              <a:rPr lang="en-US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 мес.</a:t>
            </a: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ru-RU" sz="1112" dirty="0">
              <a:solidFill>
                <a:srgbClr val="58595B"/>
              </a:solidFill>
              <a:latin typeface="Arial" pitchFamily="34" charset="0"/>
              <a:cs typeface="Arial" pitchFamily="34" charset="0"/>
            </a:endParaRP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Выпуск ключа </a:t>
            </a:r>
            <a:r>
              <a:rPr lang="en-US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e-token					</a:t>
            </a: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Бесплатно</a:t>
            </a: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1112" dirty="0">
              <a:solidFill>
                <a:srgbClr val="58595B"/>
              </a:solidFill>
              <a:latin typeface="Arial" pitchFamily="34" charset="0"/>
              <a:cs typeface="Arial" pitchFamily="34" charset="0"/>
            </a:endParaRP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SMS/e-mail </a:t>
            </a: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информирование				150 руб. </a:t>
            </a:r>
            <a:r>
              <a:rPr lang="en-US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 мес.</a:t>
            </a: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ru-RU" sz="1112" dirty="0">
              <a:solidFill>
                <a:srgbClr val="58595B"/>
              </a:solidFill>
              <a:latin typeface="Arial" pitchFamily="34" charset="0"/>
              <a:cs typeface="Arial" pitchFamily="34" charset="0"/>
            </a:endParaRP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Платежи внутри Банка </a:t>
            </a:r>
            <a:r>
              <a:rPr lang="en-US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online</a:t>
            </a: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				Бесплатно</a:t>
            </a: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1112" dirty="0">
              <a:solidFill>
                <a:srgbClr val="58595B"/>
              </a:solidFill>
              <a:latin typeface="Arial" pitchFamily="34" charset="0"/>
              <a:cs typeface="Arial" pitchFamily="34" charset="0"/>
            </a:endParaRP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Портал менеджера – мобильное приложение	Бесплатно</a:t>
            </a: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ru-RU" sz="1112" dirty="0">
              <a:solidFill>
                <a:srgbClr val="58595B"/>
              </a:solidFill>
              <a:latin typeface="Arial" pitchFamily="34" charset="0"/>
              <a:cs typeface="Arial" pitchFamily="34" charset="0"/>
            </a:endParaRP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Интеграция с 1С					Бесплатно</a:t>
            </a:r>
          </a:p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endParaRPr lang="ru-RU" sz="1112" dirty="0">
              <a:solidFill>
                <a:srgbClr val="58595B"/>
              </a:solidFill>
              <a:latin typeface="Arial" pitchFamily="34" charset="0"/>
              <a:cs typeface="Arial" pitchFamily="34" charset="0"/>
            </a:endParaRPr>
          </a:p>
          <a:p>
            <a:pPr marL="293351" indent="-293351" defTabSz="446089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Заверение необходимых документов 		Бесплатно</a:t>
            </a:r>
          </a:p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        для открытия счета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587470" y="5389566"/>
            <a:ext cx="2613258" cy="9480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12" u="sng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Для оформления спец. условий</a:t>
            </a:r>
            <a:r>
              <a:rPr lang="en-US" sz="1112" u="sng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:</a:t>
            </a:r>
            <a:endParaRPr lang="ru-RU" sz="1112" u="sng" dirty="0">
              <a:solidFill>
                <a:srgbClr val="58595B"/>
              </a:solidFill>
              <a:latin typeface="Arial" pitchFamily="34" charset="0"/>
              <a:cs typeface="Arial" pitchFamily="34" charset="0"/>
            </a:endParaRPr>
          </a:p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	Нискулов Вадим</a:t>
            </a:r>
          </a:p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	8 (495) 755-88-66 доб. 3949</a:t>
            </a:r>
          </a:p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	8 (916) 706-04-13</a:t>
            </a:r>
          </a:p>
          <a:p>
            <a:pPr defTabSz="446089" fontAlgn="auto">
              <a:spcBef>
                <a:spcPts val="0"/>
              </a:spcBef>
              <a:spcAft>
                <a:spcPts val="0"/>
              </a:spcAft>
            </a:pPr>
            <a:r>
              <a:rPr lang="ru-RU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1112" dirty="0">
                <a:solidFill>
                  <a:srgbClr val="58595B"/>
                </a:solidFill>
                <a:latin typeface="Arial" pitchFamily="34" charset="0"/>
                <a:cs typeface="Arial" pitchFamily="34" charset="0"/>
              </a:rPr>
              <a:t>Niskulov_VV@open.ru</a:t>
            </a:r>
            <a:endParaRPr lang="ru-RU" sz="1112" dirty="0">
              <a:solidFill>
                <a:srgbClr val="58595B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9521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1258888" y="2205038"/>
            <a:ext cx="7416800" cy="2952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>
              <a:defRPr/>
            </a:pPr>
            <a:r>
              <a:rPr lang="ru-RU" sz="3300" kern="0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endParaRPr lang="en-US" sz="3300" kern="0" dirty="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algn="r">
              <a:defRPr/>
            </a:pPr>
            <a:endParaRPr lang="ru-RU" sz="2400" b="0" kern="0" dirty="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algn="r">
              <a:defRPr/>
            </a:pPr>
            <a:r>
              <a:rPr lang="ru-RU" sz="2400" b="0" kern="0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Оксана Березина</a:t>
            </a:r>
            <a:endParaRPr lang="ru-RU" sz="2400" b="0" kern="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500063" y="5013325"/>
            <a:ext cx="4792662" cy="1296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800" b="0" kern="0" dirty="0" smtClean="0">
                <a:solidFill>
                  <a:schemeClr val="bg1"/>
                </a:solidFill>
                <a:cs typeface="Arial" panose="020B0604020202020204" pitchFamily="34" charset="0"/>
              </a:rPr>
              <a:t>Пресс-конференция</a:t>
            </a:r>
          </a:p>
          <a:p>
            <a:pPr>
              <a:defRPr/>
            </a:pPr>
            <a:r>
              <a:rPr lang="ru-RU" sz="1800" kern="0" dirty="0">
                <a:solidFill>
                  <a:schemeClr val="bg1"/>
                </a:solidFill>
                <a:cs typeface="Arial" panose="020B0604020202020204" pitchFamily="34" charset="0"/>
              </a:rPr>
              <a:t>«Бизнес </a:t>
            </a:r>
            <a:r>
              <a:rPr lang="ru-RU" sz="1800" kern="0" dirty="0" err="1">
                <a:solidFill>
                  <a:schemeClr val="bg1"/>
                </a:solidFill>
                <a:cs typeface="Arial" panose="020B0604020202020204" pitchFamily="34" charset="0"/>
              </a:rPr>
              <a:t>Card</a:t>
            </a:r>
            <a:r>
              <a:rPr lang="ru-RU" sz="1800" kern="0" dirty="0">
                <a:solidFill>
                  <a:schemeClr val="bg1"/>
                </a:solidFill>
                <a:cs typeface="Arial" panose="020B0604020202020204" pitchFamily="34" charset="0"/>
              </a:rPr>
              <a:t> —уникальное решение для управления корпоративными расходами</a:t>
            </a:r>
            <a:r>
              <a:rPr lang="ru-RU" sz="1800" kern="0" dirty="0" smtClean="0">
                <a:solidFill>
                  <a:schemeClr val="bg1"/>
                </a:solidFill>
                <a:cs typeface="Arial" panose="020B0604020202020204" pitchFamily="34" charset="0"/>
              </a:rPr>
              <a:t>»</a:t>
            </a:r>
          </a:p>
          <a:p>
            <a:pPr>
              <a:defRPr/>
            </a:pPr>
            <a:endParaRPr lang="ru-RU" sz="1800" b="0" kern="0" dirty="0" smtClean="0">
              <a:solidFill>
                <a:schemeClr val="bg1"/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800" b="0" kern="0" dirty="0" smtClean="0">
                <a:solidFill>
                  <a:schemeClr val="bg1"/>
                </a:solidFill>
                <a:cs typeface="Arial" panose="020B0604020202020204" pitchFamily="34" charset="0"/>
              </a:rPr>
              <a:t>11 ноября 2015 г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1259632" y="2204865"/>
            <a:ext cx="7416824" cy="2952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/>
            <a:r>
              <a:rPr lang="ru-RU" sz="330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  <a:endParaRPr lang="en-US" sz="330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endParaRPr lang="ru-RU" sz="24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r>
              <a:rPr lang="ru-RU" sz="24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Пресс-конференция</a:t>
            </a:r>
          </a:p>
          <a:p>
            <a:pPr algn="r"/>
            <a:endParaRPr lang="en-US" sz="24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r>
              <a:rPr lang="ru-RU" sz="24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Корпоративные расходы могут быть умными</a:t>
            </a:r>
            <a:endParaRPr lang="ru-RU" sz="2400" b="0" kern="0" dirty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r>
              <a:rPr lang="ru-RU" sz="2800" kern="0" dirty="0">
                <a:solidFill>
                  <a:prstClr val="white"/>
                </a:solidFill>
                <a:cs typeface="Arial" panose="020B0604020202020204" pitchFamily="34" charset="0"/>
              </a:rPr>
              <a:t>«Бизнес </a:t>
            </a:r>
            <a:r>
              <a:rPr lang="ru-RU" sz="2800" kern="0" dirty="0" err="1">
                <a:solidFill>
                  <a:prstClr val="white"/>
                </a:solidFill>
                <a:cs typeface="Arial" panose="020B0604020202020204" pitchFamily="34" charset="0"/>
              </a:rPr>
              <a:t>Card</a:t>
            </a:r>
            <a:r>
              <a:rPr lang="ru-RU" sz="2800" kern="0" dirty="0">
                <a:solidFill>
                  <a:prstClr val="white"/>
                </a:solidFill>
                <a:cs typeface="Arial" panose="020B0604020202020204" pitchFamily="34" charset="0"/>
              </a:rPr>
              <a:t> —уникальное решение для управления корпоративными расходами»</a:t>
            </a:r>
          </a:p>
          <a:p>
            <a:pPr algn="r"/>
            <a:endParaRPr lang="ru-RU" sz="2400" b="0" kern="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499964" y="5013176"/>
            <a:ext cx="4792116" cy="1296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ru-RU" sz="18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r>
              <a:rPr lang="ru-RU" sz="18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11 ноября 2015 г. </a:t>
            </a:r>
          </a:p>
        </p:txBody>
      </p:sp>
    </p:spTree>
    <p:extLst>
      <p:ext uri="{BB962C8B-B14F-4D97-AF65-F5344CB8AC3E}">
        <p14:creationId xmlns:p14="http://schemas.microsoft.com/office/powerpoint/2010/main" val="4048058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Номер слайда 6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1805B17-AF10-4C7E-94DA-5577BEBC19CC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 smtClean="0"/>
          </a:p>
        </p:txBody>
      </p:sp>
      <p:sp>
        <p:nvSpPr>
          <p:cNvPr id="15362" name="TextBox 24"/>
          <p:cNvSpPr txBox="1">
            <a:spLocks noChangeArrowheads="1"/>
          </p:cNvSpPr>
          <p:nvPr/>
        </p:nvSpPr>
        <p:spPr bwMode="auto">
          <a:xfrm>
            <a:off x="611188" y="1160463"/>
            <a:ext cx="8088312" cy="5614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>
                <a:solidFill>
                  <a:srgbClr val="000000"/>
                </a:solidFill>
                <a:latin typeface="Calibri" pitchFamily="34" charset="0"/>
                <a:cs typeface="Arial" charset="0"/>
              </a:rPr>
              <a:t>«Передовые Платежные Решения» - восточноевропейское подразделение международной компании FleetCor – мирового лидера в процессинге топливных карт, представленного в ключевых регионах мира. Крупнейший независимый оператор топливных карт в России.</a:t>
            </a:r>
          </a:p>
          <a:p>
            <a:endParaRPr lang="ru-RU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endParaRPr lang="ru-RU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endParaRPr lang="ru-RU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endParaRPr lang="ru-RU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endParaRPr lang="ru-RU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endParaRPr lang="ru-RU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endParaRPr lang="ru-RU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endParaRPr lang="ru-RU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endParaRPr lang="ru-RU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r>
              <a:rPr lang="ru-RU">
                <a:latin typeface="Calibri" pitchFamily="34" charset="0"/>
                <a:cs typeface="Arial" charset="0"/>
              </a:rPr>
              <a:t>Более</a:t>
            </a:r>
            <a:r>
              <a:rPr lang="ru-RU" b="1">
                <a:solidFill>
                  <a:srgbClr val="0070C0"/>
                </a:solidFill>
                <a:latin typeface="Calibri" pitchFamily="34" charset="0"/>
                <a:cs typeface="Arial" charset="0"/>
              </a:rPr>
              <a:t> 1 млн. </a:t>
            </a:r>
            <a:r>
              <a:rPr lang="ru-RU">
                <a:solidFill>
                  <a:srgbClr val="000000"/>
                </a:solidFill>
                <a:latin typeface="Calibri" pitchFamily="34" charset="0"/>
                <a:cs typeface="Arial" charset="0"/>
              </a:rPr>
              <a:t>транзакций ежемесячно по всей России.</a:t>
            </a:r>
          </a:p>
          <a:p>
            <a:r>
              <a:rPr lang="ru-RU">
                <a:solidFill>
                  <a:srgbClr val="000000"/>
                </a:solidFill>
                <a:latin typeface="Calibri" pitchFamily="34" charset="0"/>
                <a:cs typeface="Arial" charset="0"/>
              </a:rPr>
              <a:t>Капитализация около </a:t>
            </a:r>
            <a:r>
              <a:rPr lang="ru-RU" b="1">
                <a:solidFill>
                  <a:srgbClr val="0070C0"/>
                </a:solidFill>
                <a:latin typeface="Calibri" pitchFamily="34" charset="0"/>
                <a:cs typeface="Arial" charset="0"/>
              </a:rPr>
              <a:t>14 млрд</a:t>
            </a:r>
            <a:r>
              <a:rPr lang="ru-RU">
                <a:solidFill>
                  <a:srgbClr val="000000"/>
                </a:solidFill>
                <a:latin typeface="Calibri" pitchFamily="34" charset="0"/>
                <a:cs typeface="Arial" charset="0"/>
              </a:rPr>
              <a:t>. долларов*.</a:t>
            </a:r>
          </a:p>
          <a:p>
            <a:r>
              <a:rPr lang="ru-RU">
                <a:solidFill>
                  <a:srgbClr val="000000"/>
                </a:solidFill>
                <a:latin typeface="Calibri" pitchFamily="34" charset="0"/>
                <a:cs typeface="Arial" charset="0"/>
              </a:rPr>
              <a:t>Более </a:t>
            </a:r>
            <a:r>
              <a:rPr lang="ru-RU" b="1">
                <a:solidFill>
                  <a:srgbClr val="0070C0"/>
                </a:solidFill>
                <a:latin typeface="Calibri" pitchFamily="34" charset="0"/>
                <a:cs typeface="Arial" charset="0"/>
              </a:rPr>
              <a:t>600</a:t>
            </a:r>
            <a:r>
              <a:rPr lang="ru-RU">
                <a:solidFill>
                  <a:srgbClr val="000000"/>
                </a:solidFill>
                <a:latin typeface="Calibri" pitchFamily="34" charset="0"/>
                <a:cs typeface="Arial" charset="0"/>
              </a:rPr>
              <a:t> топливных компаний в России и ближнем зарубежье используют систему для безналичных расчетов на АЗС - </a:t>
            </a:r>
            <a:r>
              <a:rPr lang="en-US">
                <a:solidFill>
                  <a:srgbClr val="000000"/>
                </a:solidFill>
                <a:latin typeface="Calibri" pitchFamily="34" charset="0"/>
                <a:cs typeface="Arial" charset="0"/>
              </a:rPr>
              <a:t>Petrol Plus.</a:t>
            </a:r>
            <a:endParaRPr lang="ru-RU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r>
              <a:rPr lang="ru-RU">
                <a:solidFill>
                  <a:srgbClr val="000000"/>
                </a:solidFill>
                <a:latin typeface="Calibri" pitchFamily="34" charset="0"/>
                <a:cs typeface="Arial" charset="0"/>
              </a:rPr>
              <a:t>Более </a:t>
            </a:r>
            <a:r>
              <a:rPr lang="ru-RU" b="1">
                <a:solidFill>
                  <a:srgbClr val="0070C0"/>
                </a:solidFill>
                <a:latin typeface="Calibri" pitchFamily="34" charset="0"/>
                <a:cs typeface="Arial" charset="0"/>
              </a:rPr>
              <a:t>14 000 </a:t>
            </a:r>
            <a:r>
              <a:rPr lang="ru-RU">
                <a:solidFill>
                  <a:srgbClr val="000000"/>
                </a:solidFill>
                <a:latin typeface="Calibri" pitchFamily="34" charset="0"/>
                <a:cs typeface="Arial" charset="0"/>
              </a:rPr>
              <a:t>корпоративных клиентов: мультинациональные и российские компании.</a:t>
            </a:r>
          </a:p>
          <a:p>
            <a:endParaRPr lang="ru-RU" sz="100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r>
              <a:rPr lang="ru-RU" sz="1000">
                <a:solidFill>
                  <a:srgbClr val="000000"/>
                </a:solidFill>
                <a:latin typeface="Calibri" pitchFamily="34" charset="0"/>
                <a:cs typeface="Arial" charset="0"/>
              </a:rPr>
              <a:t>*по данным NYSE, октябрь 2015</a:t>
            </a:r>
          </a:p>
        </p:txBody>
      </p:sp>
      <p:sp>
        <p:nvSpPr>
          <p:cNvPr id="15363" name="TextBox 7"/>
          <p:cNvSpPr txBox="1">
            <a:spLocks noChangeArrowheads="1"/>
          </p:cNvSpPr>
          <p:nvPr/>
        </p:nvSpPr>
        <p:spPr bwMode="auto">
          <a:xfrm>
            <a:off x="1019175" y="273050"/>
            <a:ext cx="578802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800" b="1">
                <a:solidFill>
                  <a:schemeClr val="bg1"/>
                </a:solidFill>
                <a:latin typeface="Calibri" pitchFamily="34" charset="0"/>
                <a:cs typeface="Arial" charset="0"/>
              </a:rPr>
              <a:t>О компании</a:t>
            </a:r>
          </a:p>
        </p:txBody>
      </p:sp>
      <p:pic>
        <p:nvPicPr>
          <p:cNvPr id="15364" name="Picture 2" descr="N:\Маркетинг\Events\2014\Управление автопарком\our_business-map_1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57275" y="2420938"/>
            <a:ext cx="5962650" cy="2046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Номер слайда 6"/>
          <p:cNvSpPr txBox="1">
            <a:spLocks noGrp="1"/>
          </p:cNvSpPr>
          <p:nvPr/>
        </p:nvSpPr>
        <p:spPr bwMode="auto">
          <a:xfrm>
            <a:off x="107950" y="6376988"/>
            <a:ext cx="4667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fld id="{19E198B5-8F60-4755-8F2E-617309177878}" type="slidenum">
              <a:rPr lang="ru-RU" sz="1000">
                <a:solidFill>
                  <a:srgbClr val="00618B"/>
                </a:solidFill>
                <a:latin typeface="Calibri" pitchFamily="34" charset="0"/>
              </a:rPr>
              <a:pPr algn="ctr"/>
              <a:t>4</a:t>
            </a:fld>
            <a:endParaRPr lang="ru-RU" sz="1000">
              <a:solidFill>
                <a:srgbClr val="00618B"/>
              </a:solidFill>
              <a:latin typeface="Calibri" pitchFamily="34" charset="0"/>
            </a:endParaRPr>
          </a:p>
        </p:txBody>
      </p:sp>
      <p:sp>
        <p:nvSpPr>
          <p:cNvPr id="17410" name="TextBox 7"/>
          <p:cNvSpPr txBox="1">
            <a:spLocks noChangeArrowheads="1"/>
          </p:cNvSpPr>
          <p:nvPr/>
        </p:nvSpPr>
        <p:spPr bwMode="auto">
          <a:xfrm>
            <a:off x="1019175" y="273050"/>
            <a:ext cx="5788025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800" b="1">
                <a:solidFill>
                  <a:schemeClr val="bg1"/>
                </a:solidFill>
                <a:latin typeface="Calibri" pitchFamily="34" charset="0"/>
                <a:cs typeface="Arial" charset="0"/>
              </a:rPr>
              <a:t>О компании</a:t>
            </a:r>
          </a:p>
        </p:txBody>
      </p:sp>
      <p:sp>
        <p:nvSpPr>
          <p:cNvPr id="17411" name="AutoShape 15"/>
          <p:cNvSpPr>
            <a:spLocks noChangeArrowheads="1"/>
          </p:cNvSpPr>
          <p:nvPr/>
        </p:nvSpPr>
        <p:spPr bwMode="gray">
          <a:xfrm>
            <a:off x="0" y="1268413"/>
            <a:ext cx="7092950" cy="1081087"/>
          </a:xfrm>
          <a:prstGeom prst="rect">
            <a:avLst/>
          </a:prstGeom>
          <a:solidFill>
            <a:srgbClr val="2EB2A0"/>
          </a:solidFill>
          <a:ln w="9525">
            <a:noFill/>
            <a:miter lim="800000"/>
            <a:headEnd/>
            <a:tailEnd/>
          </a:ln>
        </p:spPr>
        <p:txBody>
          <a:bodyPr lIns="548640" tIns="91440" bIns="91440" anchor="ctr"/>
          <a:lstStyle/>
          <a:p>
            <a:r>
              <a:rPr lang="ru-RU" sz="2000" b="1">
                <a:solidFill>
                  <a:srgbClr val="FFFFFF"/>
                </a:solidFill>
                <a:latin typeface="Calibri" pitchFamily="34" charset="0"/>
              </a:rPr>
              <a:t>Мы предоставляем не просто карты, но и уникальные сервисы для контроля, оптимизации затрат и удобной работы с нами:</a:t>
            </a:r>
            <a:endParaRPr lang="en-US" sz="2000" b="1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7412" name="Text Box 7"/>
          <p:cNvSpPr txBox="1">
            <a:spLocks noChangeArrowheads="1"/>
          </p:cNvSpPr>
          <p:nvPr/>
        </p:nvSpPr>
        <p:spPr bwMode="auto">
          <a:xfrm>
            <a:off x="539750" y="2708275"/>
            <a:ext cx="6043613" cy="399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Tx/>
              <a:buChar char="•"/>
            </a:pPr>
            <a:r>
              <a:rPr lang="ru-RU">
                <a:latin typeface="Calibri" pitchFamily="34" charset="0"/>
              </a:rPr>
              <a:t> Личный кабинет с аналитикой</a:t>
            </a:r>
          </a:p>
          <a:p>
            <a:r>
              <a:rPr lang="ru-RU">
                <a:latin typeface="Calibri" pitchFamily="34" charset="0"/>
              </a:rPr>
              <a:t> </a:t>
            </a:r>
          </a:p>
          <a:p>
            <a:pPr>
              <a:buFontTx/>
              <a:buChar char="•"/>
            </a:pPr>
            <a:r>
              <a:rPr lang="ru-RU">
                <a:latin typeface="Calibri" pitchFamily="34" charset="0"/>
              </a:rPr>
              <a:t> </a:t>
            </a:r>
            <a:r>
              <a:rPr lang="en-US">
                <a:latin typeface="Calibri" pitchFamily="34" charset="0"/>
              </a:rPr>
              <a:t>SMS-</a:t>
            </a:r>
            <a:r>
              <a:rPr lang="ru-RU">
                <a:latin typeface="Calibri" pitchFamily="34" charset="0"/>
              </a:rPr>
              <a:t>уведомления</a:t>
            </a:r>
          </a:p>
          <a:p>
            <a:endParaRPr lang="ru-RU" sz="1000">
              <a:latin typeface="Calibri" pitchFamily="34" charset="0"/>
            </a:endParaRPr>
          </a:p>
          <a:p>
            <a:pPr>
              <a:buFontTx/>
              <a:buChar char="•"/>
            </a:pPr>
            <a:r>
              <a:rPr lang="ru-RU">
                <a:latin typeface="Calibri" pitchFamily="34" charset="0"/>
              </a:rPr>
              <a:t> Предупреждения о подозрительных операциях по картам</a:t>
            </a:r>
          </a:p>
          <a:p>
            <a:pPr>
              <a:buFontTx/>
              <a:buChar char="•"/>
            </a:pPr>
            <a:endParaRPr lang="ru-RU" sz="1000">
              <a:latin typeface="Calibri" pitchFamily="34" charset="0"/>
            </a:endParaRPr>
          </a:p>
          <a:p>
            <a:pPr>
              <a:buFontTx/>
              <a:buChar char="•"/>
            </a:pPr>
            <a:r>
              <a:rPr lang="ru-RU">
                <a:latin typeface="Calibri" pitchFamily="34" charset="0"/>
              </a:rPr>
              <a:t> Интеграция с системами телематики</a:t>
            </a:r>
          </a:p>
          <a:p>
            <a:endParaRPr lang="ru-RU" sz="1000">
              <a:latin typeface="Calibri" pitchFamily="34" charset="0"/>
            </a:endParaRPr>
          </a:p>
          <a:p>
            <a:pPr>
              <a:buFontTx/>
              <a:buChar char="•"/>
            </a:pPr>
            <a:r>
              <a:rPr lang="ru-RU">
                <a:latin typeface="Calibri" pitchFamily="34" charset="0"/>
              </a:rPr>
              <a:t> Оперативная блокировка карты по звонку</a:t>
            </a:r>
          </a:p>
          <a:p>
            <a:endParaRPr lang="ru-RU" sz="1000">
              <a:latin typeface="Calibri" pitchFamily="34" charset="0"/>
            </a:endParaRPr>
          </a:p>
          <a:p>
            <a:pPr>
              <a:buFontTx/>
              <a:buChar char="•"/>
            </a:pPr>
            <a:r>
              <a:rPr lang="ru-RU">
                <a:latin typeface="Calibri" pitchFamily="34" charset="0"/>
              </a:rPr>
              <a:t> Быстрое зачисление средств на счет</a:t>
            </a:r>
          </a:p>
          <a:p>
            <a:pPr>
              <a:buFontTx/>
              <a:buChar char="•"/>
            </a:pPr>
            <a:endParaRPr lang="ru-RU">
              <a:latin typeface="Calibri" pitchFamily="34" charset="0"/>
            </a:endParaRPr>
          </a:p>
          <a:p>
            <a:pPr>
              <a:buFontTx/>
              <a:buChar char="•"/>
            </a:pPr>
            <a:endParaRPr lang="ru-RU">
              <a:latin typeface="Calibri" pitchFamily="34" charset="0"/>
            </a:endParaRPr>
          </a:p>
          <a:p>
            <a:pPr>
              <a:buFontTx/>
              <a:buChar char="•"/>
            </a:pPr>
            <a:endParaRPr lang="ru-RU">
              <a:latin typeface="Calibri" pitchFamily="34" charset="0"/>
            </a:endParaRPr>
          </a:p>
          <a:p>
            <a:pPr>
              <a:buFontTx/>
              <a:buChar char="•"/>
            </a:pPr>
            <a:endParaRPr lang="ru-RU"/>
          </a:p>
          <a:p>
            <a:pPr>
              <a:buFontTx/>
              <a:buChar char="•"/>
            </a:pP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Номер слайда 6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573DDFF-D558-42C6-8B4B-2641F83E7B47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smtClean="0"/>
          </a:p>
        </p:txBody>
      </p:sp>
      <p:sp>
        <p:nvSpPr>
          <p:cNvPr id="19458" name="TextBox 4"/>
          <p:cNvSpPr txBox="1">
            <a:spLocks noChangeArrowheads="1"/>
          </p:cNvSpPr>
          <p:nvPr/>
        </p:nvSpPr>
        <p:spPr bwMode="auto">
          <a:xfrm>
            <a:off x="1019175" y="11113"/>
            <a:ext cx="5788025" cy="95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800">
                <a:solidFill>
                  <a:schemeClr val="bg1"/>
                </a:solidFill>
                <a:latin typeface="Calibri" pitchFamily="34" charset="0"/>
                <a:cs typeface="Arial" charset="0"/>
              </a:rPr>
              <a:t>Рынок безналичных корпоративных платежей в России</a:t>
            </a:r>
          </a:p>
        </p:txBody>
      </p:sp>
      <p:sp>
        <p:nvSpPr>
          <p:cNvPr id="6" name="Объект 2"/>
          <p:cNvSpPr txBox="1">
            <a:spLocks/>
          </p:cNvSpPr>
          <p:nvPr/>
        </p:nvSpPr>
        <p:spPr>
          <a:xfrm>
            <a:off x="398463" y="1412875"/>
            <a:ext cx="5010150" cy="302418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2200" b="1" dirty="0">
                <a:solidFill>
                  <a:srgbClr val="0070C0"/>
                </a:solidFill>
              </a:rPr>
              <a:t>Объем </a:t>
            </a:r>
            <a:r>
              <a:rPr lang="ru-RU" sz="2200" b="1" dirty="0" smtClean="0">
                <a:solidFill>
                  <a:srgbClr val="0070C0"/>
                </a:solidFill>
              </a:rPr>
              <a:t>рынка:</a:t>
            </a:r>
            <a:endParaRPr lang="ru-RU" sz="2200" b="1" dirty="0">
              <a:solidFill>
                <a:srgbClr val="0070C0"/>
              </a:solidFill>
            </a:endParaRPr>
          </a:p>
          <a:p>
            <a:pPr fontAlgn="auto">
              <a:spcAft>
                <a:spcPts val="0"/>
              </a:spcAft>
              <a:buFont typeface="Calibri" panose="020F0502020204030204" pitchFamily="34" charset="0"/>
              <a:buChar char="–"/>
              <a:defRPr/>
            </a:pPr>
            <a:r>
              <a:rPr lang="ru-RU" sz="1600" dirty="0"/>
              <a:t>Топливо – 60 млрд $ в год (в т.ч. 30 млрд $ по корпоративным клиентам</a:t>
            </a:r>
            <a:r>
              <a:rPr lang="ru-RU" sz="1600" dirty="0" smtClean="0"/>
              <a:t>).</a:t>
            </a:r>
          </a:p>
          <a:p>
            <a:pPr fontAlgn="auto">
              <a:spcAft>
                <a:spcPts val="0"/>
              </a:spcAft>
              <a:buFont typeface="Calibri" panose="020F0502020204030204" pitchFamily="34" charset="0"/>
              <a:buChar char="–"/>
              <a:defRPr/>
            </a:pPr>
            <a:r>
              <a:rPr lang="ru-RU" sz="1600" dirty="0" smtClean="0"/>
              <a:t>Корпоративные </a:t>
            </a:r>
            <a:r>
              <a:rPr lang="ru-RU" sz="1600" dirty="0"/>
              <a:t>платежи – </a:t>
            </a:r>
            <a:r>
              <a:rPr lang="ru-RU" sz="1600" dirty="0" smtClean="0"/>
              <a:t>более 100 </a:t>
            </a:r>
            <a:r>
              <a:rPr lang="ru-RU" sz="1600" dirty="0"/>
              <a:t>млрд $ в год</a:t>
            </a:r>
            <a:r>
              <a:rPr lang="ru-RU" sz="1600" dirty="0" smtClean="0"/>
              <a:t>.*</a:t>
            </a:r>
            <a:endParaRPr lang="ru-RU" sz="1600" dirty="0"/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ru-RU" sz="1600" dirty="0" smtClean="0"/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ru-RU" sz="1600" dirty="0"/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2200" b="1" dirty="0">
                <a:solidFill>
                  <a:srgbClr val="0070C0"/>
                </a:solidFill>
              </a:rPr>
              <a:t>Количество юридических лиц:</a:t>
            </a:r>
          </a:p>
          <a:p>
            <a:pPr fontAlgn="auto">
              <a:spcAft>
                <a:spcPts val="0"/>
              </a:spcAft>
              <a:buFont typeface="Calibri" panose="020F0502020204030204" pitchFamily="34" charset="0"/>
              <a:buChar char="–"/>
              <a:defRPr/>
            </a:pPr>
            <a:r>
              <a:rPr lang="ru-RU" sz="1600" dirty="0"/>
              <a:t>Всего юридических лиц с автопарками - 400 тыс.</a:t>
            </a:r>
          </a:p>
          <a:p>
            <a:pPr fontAlgn="auto">
              <a:spcAft>
                <a:spcPts val="0"/>
              </a:spcAft>
              <a:buFont typeface="Calibri" panose="020F0502020204030204" pitchFamily="34" charset="0"/>
              <a:buChar char="–"/>
              <a:defRPr/>
            </a:pPr>
            <a:r>
              <a:rPr lang="ru-RU" sz="1600" dirty="0"/>
              <a:t>Всего юридических лиц, которые отчитываются в налоговую - 1 млн</a:t>
            </a:r>
            <a:r>
              <a:rPr lang="ru-RU" sz="1600" dirty="0" smtClean="0"/>
              <a:t>.**</a:t>
            </a:r>
            <a:endParaRPr lang="ru-RU" dirty="0"/>
          </a:p>
        </p:txBody>
      </p:sp>
      <p:graphicFrame>
        <p:nvGraphicFramePr>
          <p:cNvPr id="9" name="Диаграмма 8"/>
          <p:cNvGraphicFramePr>
            <a:graphicFrameLocks/>
          </p:cNvGraphicFramePr>
          <p:nvPr/>
        </p:nvGraphicFramePr>
        <p:xfrm>
          <a:off x="5105384" y="1268760"/>
          <a:ext cx="3402391" cy="1872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Диаграмма 9"/>
          <p:cNvGraphicFramePr>
            <a:graphicFrameLocks/>
          </p:cNvGraphicFramePr>
          <p:nvPr/>
        </p:nvGraphicFramePr>
        <p:xfrm>
          <a:off x="5407961" y="3356992"/>
          <a:ext cx="2808312" cy="1728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462" name="Прямоугольник 1"/>
          <p:cNvSpPr>
            <a:spLocks noChangeArrowheads="1"/>
          </p:cNvSpPr>
          <p:nvPr/>
        </p:nvSpPr>
        <p:spPr bwMode="auto">
          <a:xfrm>
            <a:off x="323850" y="5805488"/>
            <a:ext cx="31623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000">
                <a:latin typeface="Calibri" pitchFamily="34" charset="0"/>
              </a:rPr>
              <a:t>*по данным исследования, проведенного ООО «ППР»</a:t>
            </a:r>
          </a:p>
          <a:p>
            <a:r>
              <a:rPr lang="ru-RU" sz="1000">
                <a:latin typeface="Calibri" pitchFamily="34" charset="0"/>
              </a:rPr>
              <a:t>**По данным ФНС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1259632" y="2204865"/>
            <a:ext cx="7416824" cy="2952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/>
            <a:r>
              <a:rPr lang="ru-RU" sz="330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 </a:t>
            </a:r>
            <a:endParaRPr lang="en-US" sz="330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endParaRPr lang="ru-RU" sz="24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r>
              <a:rPr lang="ru-RU" sz="24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Пресс-конференция</a:t>
            </a:r>
          </a:p>
          <a:p>
            <a:pPr algn="r"/>
            <a:endParaRPr lang="en-US" sz="24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r>
              <a:rPr lang="ru-RU" sz="24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Корпоративные расходы могут быть умными</a:t>
            </a:r>
            <a:endParaRPr lang="ru-RU" sz="2400" b="0" kern="0" dirty="0">
              <a:solidFill>
                <a:prstClr val="white"/>
              </a:solidFill>
              <a:cs typeface="Arial" panose="020B0604020202020204" pitchFamily="34" charset="0"/>
            </a:endParaRPr>
          </a:p>
          <a:p>
            <a:pPr algn="r"/>
            <a:r>
              <a:rPr lang="ru-RU" sz="2800" kern="0" dirty="0">
                <a:solidFill>
                  <a:prstClr val="white"/>
                </a:solidFill>
                <a:cs typeface="Arial" panose="020B0604020202020204" pitchFamily="34" charset="0"/>
              </a:rPr>
              <a:t>«Бизнес </a:t>
            </a:r>
            <a:r>
              <a:rPr lang="ru-RU" sz="2800" kern="0" dirty="0" err="1">
                <a:solidFill>
                  <a:prstClr val="white"/>
                </a:solidFill>
                <a:cs typeface="Arial" panose="020B0604020202020204" pitchFamily="34" charset="0"/>
              </a:rPr>
              <a:t>Card</a:t>
            </a:r>
            <a:r>
              <a:rPr lang="ru-RU" sz="2800" kern="0" dirty="0">
                <a:solidFill>
                  <a:prstClr val="white"/>
                </a:solidFill>
                <a:cs typeface="Arial" panose="020B0604020202020204" pitchFamily="34" charset="0"/>
              </a:rPr>
              <a:t> —уникальное решение для управления корпоративными расходами»</a:t>
            </a:r>
          </a:p>
          <a:p>
            <a:pPr algn="r"/>
            <a:endParaRPr lang="ru-RU" sz="2400" b="0" kern="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499964" y="5013176"/>
            <a:ext cx="4792116" cy="1296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ru-RU" sz="1800" b="0" kern="0" dirty="0" smtClean="0">
              <a:solidFill>
                <a:prstClr val="white"/>
              </a:solidFill>
              <a:cs typeface="Arial" panose="020B0604020202020204" pitchFamily="34" charset="0"/>
            </a:endParaRPr>
          </a:p>
          <a:p>
            <a:r>
              <a:rPr lang="ru-RU" sz="1800" b="0" kern="0" dirty="0" smtClean="0">
                <a:solidFill>
                  <a:prstClr val="white"/>
                </a:solidFill>
                <a:cs typeface="Arial" panose="020B0604020202020204" pitchFamily="34" charset="0"/>
              </a:rPr>
              <a:t>11 ноября 2015 г. </a:t>
            </a:r>
          </a:p>
        </p:txBody>
      </p:sp>
    </p:spTree>
    <p:extLst>
      <p:ext uri="{BB962C8B-B14F-4D97-AF65-F5344CB8AC3E}">
        <p14:creationId xmlns:p14="http://schemas.microsoft.com/office/powerpoint/2010/main" val="4053846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>
          <a:xfrm>
            <a:off x="228600" y="2438400"/>
            <a:ext cx="3962400" cy="1360372"/>
          </a:xfrm>
        </p:spPr>
        <p:txBody>
          <a:bodyPr/>
          <a:lstStyle/>
          <a:p>
            <a:r>
              <a:rPr lang="ru-RU" sz="3200" b="1" dirty="0" smtClean="0"/>
              <a:t>Корпоративные карты </a:t>
            </a:r>
            <a:r>
              <a:rPr lang="en-US" sz="3200" b="1" dirty="0" smtClean="0"/>
              <a:t>Visa</a:t>
            </a:r>
            <a:r>
              <a:rPr lang="ru-RU" sz="3200" b="1" dirty="0" smtClean="0"/>
              <a:t> - </a:t>
            </a:r>
            <a:r>
              <a:rPr lang="ru-RU" sz="2000" dirty="0" smtClean="0"/>
              <a:t>современные </a:t>
            </a:r>
            <a:r>
              <a:rPr lang="ru-RU" sz="2000" dirty="0"/>
              <a:t>инструменты для оптимизации расходов компаний</a:t>
            </a:r>
            <a:endParaRPr lang="en-US" sz="2000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gray">
          <a:xfrm>
            <a:off x="228600" y="4114800"/>
            <a:ext cx="3798758" cy="366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5pPr>
            <a:lvl6pPr marL="40817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6pPr>
            <a:lvl7pPr marL="81634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7pPr>
            <a:lvl8pPr marL="122452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8pPr>
            <a:lvl9pPr marL="163269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400" b="1" kern="0" dirty="0" smtClean="0">
                <a:solidFill>
                  <a:srgbClr val="1A1F71"/>
                </a:solidFill>
              </a:rPr>
              <a:t>11 ноября 2015 г.</a:t>
            </a:r>
          </a:p>
          <a:p>
            <a:r>
              <a:rPr lang="ru-RU" sz="1400" b="1" kern="0" dirty="0" smtClean="0">
                <a:solidFill>
                  <a:srgbClr val="1A1F71"/>
                </a:solidFill>
              </a:rPr>
              <a:t>Москва</a:t>
            </a:r>
            <a:endParaRPr lang="en-US" sz="1400" b="1" kern="0" dirty="0">
              <a:solidFill>
                <a:srgbClr val="1A1F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429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37743" y="556846"/>
            <a:ext cx="8686800" cy="4924425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spAutoFit/>
          </a:bodyPr>
          <a:lstStyle/>
          <a:p>
            <a:pPr algn="just" eaLnBrk="0" hangingPunct="0"/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Настоящая презентация может содержать «прогностические заявления», как их определяет Закон о реформе судопроизводства по частным ценным бумагам (США, 1995). Дополнительно, все лежащие в основе прогнозы относятся к «прогностическим заявлениям». Они включают в себя, но не ограничиваются заявлениями о некоторых целях </a:t>
            </a:r>
            <a:r>
              <a:rPr lang="en-US" sz="1000" dirty="0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Visa</a:t>
            </a:r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, прогнозах, исходя из корректированной прибыли на акцию, дохода, корректированной операционной маржи, оборота свободной наличности, показателя роста этих и других экономических величин. По своей природе, прогностические заявления: (</a:t>
            </a:r>
            <a:r>
              <a:rPr lang="en-US" sz="1000" dirty="0" err="1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i</a:t>
            </a:r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) применимы только на дату заявления , (</a:t>
            </a:r>
            <a:r>
              <a:rPr lang="en-US" sz="1000" dirty="0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ii</a:t>
            </a:r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) не являются гарантиями будущих результатов и (</a:t>
            </a:r>
            <a:r>
              <a:rPr lang="en-US" sz="1000" dirty="0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iii</a:t>
            </a:r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) подвержены риску, погрешностям, вследствие чего фактические результаты могут существенно отличаться от прогностических заявлений.  Пожалуйста, не питайте неоправданные надежды на такие утверждения, которые относятся только к дате настоящей презентации. </a:t>
            </a:r>
            <a:r>
              <a:rPr lang="en-US" sz="1000" dirty="0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Visa</a:t>
            </a:r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 не будет пересматривать или обновлять прогностические заявления, только если это не будет ее обязанностью в соответствии с законодательством США о ценных бумагах.</a:t>
            </a:r>
            <a:endParaRPr lang="en-US" sz="1000" dirty="0">
              <a:solidFill>
                <a:srgbClr val="FFFFFF">
                  <a:lumMod val="50000"/>
                </a:srgbClr>
              </a:solidFill>
              <a:latin typeface="Segoe UI"/>
              <a:ea typeface="Times New Roman" pitchFamily="18" charset="0"/>
              <a:cs typeface="Segoe UI" panose="020B0502040204020203" pitchFamily="34" charset="0"/>
            </a:endParaRPr>
          </a:p>
          <a:p>
            <a:pPr algn="just" eaLnBrk="0" hangingPunct="0"/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Вся информация предоставляется «как есть» исключительно в информационных целях. </a:t>
            </a:r>
            <a:r>
              <a:rPr lang="en-GB" sz="1000" dirty="0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Visa International</a:t>
            </a:r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 не несет ответственности за любые информационные ошибки, неполноту, задержку или любые действия, предпринятые, полагаясь на содержащиеся здесь данные.</a:t>
            </a:r>
            <a:endParaRPr lang="en-US" sz="1000" dirty="0">
              <a:solidFill>
                <a:srgbClr val="FFFFFF">
                  <a:lumMod val="50000"/>
                </a:srgbClr>
              </a:solidFill>
              <a:latin typeface="Segoe UI"/>
              <a:ea typeface="Times New Roman" pitchFamily="18" charset="0"/>
              <a:cs typeface="Segoe UI" panose="020B0502040204020203" pitchFamily="34" charset="0"/>
            </a:endParaRPr>
          </a:p>
          <a:p>
            <a:pPr algn="just" eaLnBrk="0" hangingPunct="0"/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Изучение частных случаев, статистика, исследования и рекомендации предоставлены «КАК ЕСТЬ» и предназначены только для информационных целей; на них не следует полагаться для целей предоставления консультаций по операционным, маркетинговым, юридическим, техническим, финансовым вопросам, вопросам налогообложения или иным вопросам. В процессе реализации </a:t>
            </a:r>
          </a:p>
          <a:p>
            <a:pPr algn="just" eaLnBrk="0" hangingPunct="0"/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любой новой стратегии или практики, пожалуйста, обратитесь к Вашему юридическому консультанту с целью определения того, какие  законы и правила могут быть применимы к вашей конкретной ситуации. Реальные затраты, экономия и преимущества, получаемые в результате выполнения любых рекомендаций или программ, могут варьироваться, исходя их конкретных потребностей вашего бизнеса и требований программы. По своей природе рекомендации не являются гарантиями будущих показателей или результатов деятельности, и в отношении них могут существовать риски, неопределенности и предположения, которые сложно спрогнозировать   или оценить. Мы сделали предположения исходя из нашего опыта и нашего понимания исторических тенденций, существующих условий, ожидаемых в будущем событий, а также иных факторов, которые, по нашему мнению, имеют отношение к рассматриваемой ситуации. В отношении рекомендаций могут существовать риски и неопределенности, которые способны привести к тому, что текущие и будущие результаты и тенденции будут существенно отличаться от предположений или рекомендаций. Компания Visa не несет ответственности за использование Вами информации, содержащейся в настоящем документе (включая ошибки, пропуски, неточности или несвоевременность любого характера) или за любые предположения или заключения, которые вы можете сделать в связи с ее использованием. Компания Visa не предоставляет никаких гарантий, явно выраженных или подразумеваемых, и в прямой форме заявляет об отказе от предоставления гарантий пригодности для коммерческих целей и пригодности для использования в конкретных целях, какой-либо гарантии отсутствия нарушений прав интеллектуальной собственности любых третьих лиц, какой-либо гарантии того, что информация будет соответствовать требованиям клиента или какой-либо гарантии того, что информация является актуальной и не будет содержать ошибок. </a:t>
            </a:r>
            <a:endParaRPr lang="en-US" sz="1000" dirty="0">
              <a:solidFill>
                <a:srgbClr val="FFFFFF">
                  <a:lumMod val="50000"/>
                </a:srgbClr>
              </a:solidFill>
              <a:latin typeface="Segoe UI"/>
              <a:ea typeface="Times New Roman" pitchFamily="18" charset="0"/>
              <a:cs typeface="Segoe UI" panose="020B0502040204020203" pitchFamily="34" charset="0"/>
            </a:endParaRPr>
          </a:p>
          <a:p>
            <a:pPr algn="just" eaLnBrk="0" hangingPunct="0"/>
            <a:r>
              <a:rPr lang="ru-RU" sz="1000" dirty="0">
                <a:solidFill>
                  <a:srgbClr val="FFFFFF">
                    <a:lumMod val="50000"/>
                  </a:srgbClr>
                </a:solidFill>
                <a:latin typeface="Segoe UI"/>
                <a:ea typeface="Times New Roman" pitchFamily="18" charset="0"/>
                <a:cs typeface="Segoe UI" panose="020B0502040204020203" pitchFamily="34" charset="0"/>
              </a:rPr>
              <a:t>Компания Visa не несет ответственности перед клиентом или любыми третьими лицами за любые убытки, включая, но не ограничиваясь, любые реальные, косвенные, случайные или штрафные убытки, а также за любые убытки в связи потерей прибыли, приостановкой деятельности, утратой деловой информации, или за иные денежные потери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37743" y="167146"/>
            <a:ext cx="8449057" cy="366254"/>
          </a:xfrm>
        </p:spPr>
        <p:txBody>
          <a:bodyPr/>
          <a:lstStyle/>
          <a:p>
            <a:r>
              <a:rPr lang="ru-RU" sz="1800" b="1" dirty="0"/>
              <a:t>ЗАЯВЛЕНИЕ ОБ ОТСУТСТВИИ ГАРАНТИИ</a:t>
            </a:r>
          </a:p>
        </p:txBody>
      </p:sp>
    </p:spTree>
    <p:extLst>
      <p:ext uri="{BB962C8B-B14F-4D97-AF65-F5344CB8AC3E}">
        <p14:creationId xmlns:p14="http://schemas.microsoft.com/office/powerpoint/2010/main" val="3336231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191" y="245827"/>
            <a:ext cx="8686800" cy="366254"/>
          </a:xfrm>
        </p:spPr>
        <p:txBody>
          <a:bodyPr/>
          <a:lstStyle/>
          <a:p>
            <a:r>
              <a:rPr lang="ru-RU" b="1" dirty="0" smtClean="0"/>
              <a:t>Обзор</a:t>
            </a:r>
            <a:r>
              <a:rPr lang="en-US" b="1" dirty="0" smtClean="0"/>
              <a:t> </a:t>
            </a:r>
            <a:r>
              <a:rPr lang="ru-RU" b="1" dirty="0" smtClean="0"/>
              <a:t>рынка</a:t>
            </a:r>
            <a:endParaRPr lang="en-US" dirty="0"/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gray">
          <a:xfrm>
            <a:off x="258917" y="6452116"/>
            <a:ext cx="2752357" cy="1108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ru-RU" sz="800" b="1" dirty="0" smtClean="0">
                <a:solidFill>
                  <a:srgbClr val="5C5C5C"/>
                </a:solidFill>
                <a:latin typeface="Segoe UI"/>
              </a:rPr>
              <a:t>Источник</a:t>
            </a:r>
            <a:r>
              <a:rPr lang="en-US" sz="800" dirty="0" smtClean="0">
                <a:solidFill>
                  <a:srgbClr val="5C5C5C"/>
                </a:solidFill>
                <a:latin typeface="Segoe UI"/>
              </a:rPr>
              <a:t>: </a:t>
            </a:r>
            <a:r>
              <a:rPr lang="ru-RU" sz="800" dirty="0" smtClean="0">
                <a:solidFill>
                  <a:srgbClr val="5C5C5C"/>
                </a:solidFill>
                <a:latin typeface="Segoe UI"/>
              </a:rPr>
              <a:t>Сайт Центрального Банка РФ, </a:t>
            </a:r>
            <a:r>
              <a:rPr lang="en-US" sz="800" dirty="0" smtClean="0">
                <a:solidFill>
                  <a:srgbClr val="5C5C5C"/>
                </a:solidFill>
                <a:latin typeface="Segoe UI"/>
                <a:hlinkClick r:id="rId3"/>
              </a:rPr>
              <a:t>www.cbr.ru</a:t>
            </a:r>
            <a:r>
              <a:rPr lang="ru-RU" sz="800" dirty="0" smtClean="0">
                <a:solidFill>
                  <a:srgbClr val="5C5C5C"/>
                </a:solidFill>
                <a:latin typeface="Segoe UI"/>
              </a:rPr>
              <a:t>, 2015</a:t>
            </a:r>
            <a:endParaRPr lang="en-US" sz="8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241191" y="793639"/>
            <a:ext cx="8686800" cy="221599"/>
          </a:xfrm>
        </p:spPr>
        <p:txBody>
          <a:bodyPr/>
          <a:lstStyle/>
          <a:p>
            <a:r>
              <a:rPr lang="ru-RU" sz="1600" dirty="0"/>
              <a:t>Объем рынка коммерческих карт в России</a:t>
            </a:r>
          </a:p>
        </p:txBody>
      </p:sp>
      <p:graphicFrame>
        <p:nvGraphicFramePr>
          <p:cNvPr id="9" name="Group 4"/>
          <p:cNvGraphicFramePr>
            <a:graphicFrameLocks noGrp="1"/>
          </p:cNvGraphicFramePr>
          <p:nvPr>
            <p:extLst/>
          </p:nvPr>
        </p:nvGraphicFramePr>
        <p:xfrm>
          <a:off x="1066800" y="1550898"/>
          <a:ext cx="7162800" cy="4316503"/>
        </p:xfrm>
        <a:graphic>
          <a:graphicData uri="http://schemas.openxmlformats.org/drawingml/2006/table">
            <a:tbl>
              <a:tblPr/>
              <a:tblGrid>
                <a:gridCol w="1250209"/>
                <a:gridCol w="1531767"/>
                <a:gridCol w="1460275"/>
                <a:gridCol w="1551542"/>
                <a:gridCol w="1369007"/>
              </a:tblGrid>
              <a:tr h="463599">
                <a:tc row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A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Период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R="45720" marT="121920" marB="121920"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A000"/>
                        </a:buClr>
                        <a:buSzPct val="100000"/>
                        <a:buFont typeface="Arial" charset="0"/>
                        <a:buNone/>
                        <a:tabLst>
                          <a:tab pos="1543050" algn="r"/>
                        </a:tabLst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Карты для юридических лиц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R="0" marT="121920" marB="121920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A000"/>
                        </a:buClr>
                        <a:buSzPct val="100000"/>
                        <a:buFont typeface="Arial" charset="0"/>
                        <a:buNone/>
                        <a:tabLst>
                          <a:tab pos="1543050" algn="r"/>
                        </a:tabLst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/>
                        </a:solidFill>
                        <a:effectLst/>
                        <a:latin typeface="+mn-lt"/>
                      </a:endParaRPr>
                    </a:p>
                  </a:txBody>
                  <a:tcPr marR="0" marT="121920" marB="121920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A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/>
                        </a:solidFill>
                        <a:effectLst/>
                        <a:latin typeface="+mn-lt"/>
                      </a:endParaRPr>
                    </a:p>
                  </a:txBody>
                  <a:tcPr marR="0" marT="121920" marB="121920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635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A000"/>
                        </a:buClr>
                        <a:buSzPct val="100000"/>
                        <a:buFont typeface="Arial" charset="0"/>
                        <a:buNone/>
                        <a:tabLst>
                          <a:tab pos="1543050" algn="r"/>
                        </a:tabLst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Карт в обращении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R="0" marT="121920" marB="121920" anchor="b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A000"/>
                        </a:buClr>
                        <a:buSzPct val="100000"/>
                        <a:buFont typeface="Arial" charset="0"/>
                        <a:buNone/>
                        <a:tabLst>
                          <a:tab pos="1543050" algn="r"/>
                        </a:tabLst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Всего операций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R="0" marT="121920" marB="121920" anchor="b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A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Из них: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R="0" marT="121920" marB="121920" anchor="b" horzOverflow="overflow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635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A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Снятие наличных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R="0" marT="121920" marB="121920" anchor="b" horzOverflow="overflow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A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Оплата товаров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R="0" marT="121920" marB="121920" anchor="b" horzOverflow="overflow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635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A000"/>
                        </a:buClr>
                        <a:buSzPct val="100000"/>
                        <a:buFont typeface="Arial" charset="0"/>
                        <a:buNone/>
                        <a:tabLst>
                          <a:tab pos="1543050" algn="r"/>
                        </a:tabLst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тысяч шт.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R="0" marT="121920" marB="121920" anchor="b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A000"/>
                        </a:buClr>
                        <a:buSzPct val="100000"/>
                        <a:buFont typeface="Arial" charset="0"/>
                        <a:buNone/>
                        <a:tabLst>
                          <a:tab pos="1543050" algn="r"/>
                        </a:tabLst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млрд руб.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R="0" marT="121920" marB="121920" anchor="b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A000"/>
                        </a:buClr>
                        <a:buSzPct val="100000"/>
                        <a:buFont typeface="Arial" charset="0"/>
                        <a:buNone/>
                        <a:tabLst>
                          <a:tab pos="1543050" algn="r"/>
                        </a:tabLst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млрд руб.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R="0" marT="121920" marB="121920" anchor="b" horzOverflow="overflow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FFA000"/>
                        </a:buClr>
                        <a:buSzPct val="100000"/>
                        <a:buFont typeface="Arial" charset="0"/>
                        <a:buNone/>
                        <a:tabLst>
                          <a:tab pos="1543050" algn="r"/>
                        </a:tabLst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млрд руб.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R="0" marT="121920" marB="121920" anchor="b" horzOverflow="overflow">
                    <a:lnL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7810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ru-RU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2009 год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2</a:t>
                      </a: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00</a:t>
                      </a:r>
                      <a:r>
                        <a:rPr kumimoji="0" lang="en-US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</a:t>
                      </a:r>
                      <a:endParaRPr kumimoji="0" 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352,7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125,3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227,3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7810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ru-RU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2010 год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300</a:t>
                      </a:r>
                      <a:endParaRPr kumimoji="0" 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411,8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173,9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237,9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7810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ru-RU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2011 год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400</a:t>
                      </a:r>
                      <a:endParaRPr kumimoji="0" 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638,3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257,2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381,1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7810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ru-RU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2012 год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500</a:t>
                      </a:r>
                      <a:endParaRPr kumimoji="0" 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600,8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388,2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212,6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7810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ru-RU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2013 год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600</a:t>
                      </a:r>
                      <a:endParaRPr kumimoji="0" 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990,1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568,7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421,4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7810">
                <a:tc>
                  <a:txBody>
                    <a:bodyPr/>
                    <a:lstStyle/>
                    <a:p>
                      <a:pPr algn="ctr" fontAlgn="t"/>
                      <a:r>
                        <a:rPr kumimoji="0" lang="ru-RU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2014 год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700</a:t>
                      </a:r>
                      <a:endParaRPr kumimoji="0" 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itchFamily="18" charset="0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1 480,7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878,6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 602,2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524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>
                          <a:srgbClr val="FFA000"/>
                        </a:buClr>
                        <a:buSzPct val="100000"/>
                        <a:buFont typeface="Arial" charset="0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2014 к 2013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ea typeface="Times New Roman" pitchFamily="18" charset="0"/>
                        <a:cs typeface="Segoe UI" panose="020B0502040204020203" pitchFamily="34" charset="0"/>
                      </a:endParaRPr>
                    </a:p>
                  </a:txBody>
                  <a:tcPr marR="45720" marT="60960" marB="6096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5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Times New Roman" pitchFamily="18" charset="0"/>
                          <a:cs typeface="Segoe UI" panose="020B0502040204020203" pitchFamily="34" charset="0"/>
                        </a:rPr>
                        <a:t>4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5141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4x3_Visa_Presentation_Template_POTX_V2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0</TotalTime>
  <Words>1539</Words>
  <Application>Microsoft Office PowerPoint</Application>
  <PresentationFormat>Экран (4:3)</PresentationFormat>
  <Paragraphs>319</Paragraphs>
  <Slides>20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35" baseType="lpstr">
      <vt:lpstr>Arial</vt:lpstr>
      <vt:lpstr>Calibri</vt:lpstr>
      <vt:lpstr>Segoe UI</vt:lpstr>
      <vt:lpstr>Times New Roman</vt:lpstr>
      <vt:lpstr>Whitney Book</vt:lpstr>
      <vt:lpstr>Whitney Light</vt:lpstr>
      <vt:lpstr>Whitney Medium</vt:lpstr>
      <vt:lpstr>Wingdings</vt:lpstr>
      <vt:lpstr>Тема Office</vt:lpstr>
      <vt:lpstr>1_Тема Office</vt:lpstr>
      <vt:lpstr>2_Тема Office</vt:lpstr>
      <vt:lpstr>3_Тема Office</vt:lpstr>
      <vt:lpstr>4_Тема Office</vt:lpstr>
      <vt:lpstr>4x3_Visa_Presentation_Template_POTX_V2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рпоративные карты Visa - современные инструменты для оптимизации расходов компаний</vt:lpstr>
      <vt:lpstr>ЗАЯВЛЕНИЕ ОБ ОТСУТСТВИИ ГАРАНТИИ</vt:lpstr>
      <vt:lpstr>Обзор рынка</vt:lpstr>
      <vt:lpstr>Исследование рынка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БИЗНЕС CARD </vt:lpstr>
      <vt:lpstr>Презентация PowerPoint</vt:lpstr>
      <vt:lpstr>СПЕЦИАЛЬНОЕ ПРЕДЛОЖЕНИЕ ДЛЯ КЛИЕНТОВ КОМПАНИИ «ПЕРЕДОВЫЕ ПЛАТЕЖНЫЕ РЕШЕНИЯ» В БАНКЕ «ФК ОТКРЫТИЕ» 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Dinara Satarova</dc:creator>
  <cp:lastModifiedBy>Coopers</cp:lastModifiedBy>
  <cp:revision>193</cp:revision>
  <dcterms:created xsi:type="dcterms:W3CDTF">2014-09-05T11:19:10Z</dcterms:created>
  <dcterms:modified xsi:type="dcterms:W3CDTF">2015-11-11T09:48:45Z</dcterms:modified>
</cp:coreProperties>
</file>